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4" r:id="rId4"/>
    <p:sldMasterId id="2147483753" r:id="rId5"/>
    <p:sldMasterId id="2147484374" r:id="rId6"/>
    <p:sldMasterId id="2147484372" r:id="rId7"/>
    <p:sldMasterId id="2147484804" r:id="rId8"/>
  </p:sldMasterIdLst>
  <p:notesMasterIdLst>
    <p:notesMasterId r:id="rId10"/>
  </p:notesMasterIdLst>
  <p:sldIdLst>
    <p:sldId id="2147481960" r:id="rId9"/>
  </p:sldIdLst>
  <p:sldSz cx="12192000" cy="6858000"/>
  <p:notesSz cx="6858000" cy="9144000"/>
  <p:custDataLst>
    <p:tags r:id="rId11"/>
  </p:custData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黑体" panose="02010609060101010101" pitchFamily="49" charset="-122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E86E9E-C255-5B53-8782-02A3306AEF44}" v="72" dt="2024-03-01T04:34:48.264"/>
    <p1510:client id="{39A64896-AD1E-4C32-AA77-7D55ED32B2AD}" v="2871" dt="2024-02-29T10:41:43.347"/>
    <p1510:client id="{4C7867D3-2859-B620-F3F4-069AED749FD7}" v="19" dt="2024-03-01T01:50:58.998"/>
    <p1510:client id="{A04C213E-0B80-4FC7-90A9-B8536E23A3B6}" v="1858" dt="2024-02-29T06:44:17.271"/>
    <p1510:client id="{AB95C000-4B32-4687-B683-ADACD7DC5CE5}" vWet="2" dt="2024-03-01T04:24:29.417"/>
    <p1510:client id="{C584BFEF-7BD6-574F-187A-539FC858C396}" v="12" dt="2024-03-01T04:02:11.817"/>
    <p1510:client id="{CC73C187-7D75-CDC5-5236-4DFE88E8A909}" v="286" dt="2024-03-01T02:01:36.5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 Liu" userId="c40ec9ff-3243-45fa-93ed-b72a66f9ae62" providerId="ADAL" clId="{CFC0DA1D-615C-4050-ADE6-8F728C305CAB}"/>
    <pc:docChg chg="undo custSel addSld delSld modSld">
      <pc:chgData name="Lin Liu" userId="c40ec9ff-3243-45fa-93ed-b72a66f9ae62" providerId="ADAL" clId="{CFC0DA1D-615C-4050-ADE6-8F728C305CAB}" dt="2024-03-01T04:36:54.364" v="2398" actId="20577"/>
      <pc:docMkLst>
        <pc:docMk/>
      </pc:docMkLst>
      <pc:sldChg chg="modSp mod">
        <pc:chgData name="Lin Liu" userId="c40ec9ff-3243-45fa-93ed-b72a66f9ae62" providerId="ADAL" clId="{CFC0DA1D-615C-4050-ADE6-8F728C305CAB}" dt="2024-02-29T10:47:14.369" v="1930" actId="20577"/>
        <pc:sldMkLst>
          <pc:docMk/>
          <pc:sldMk cId="0" sldId="2147481900"/>
        </pc:sldMkLst>
        <pc:graphicFrameChg chg="modGraphic">
          <ac:chgData name="Lin Liu" userId="c40ec9ff-3243-45fa-93ed-b72a66f9ae62" providerId="ADAL" clId="{CFC0DA1D-615C-4050-ADE6-8F728C305CAB}" dt="2024-02-29T10:47:14.369" v="1930" actId="20577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  <pc:sldChg chg="addSp modSp del mod">
        <pc:chgData name="Lin Liu" userId="c40ec9ff-3243-45fa-93ed-b72a66f9ae62" providerId="ADAL" clId="{CFC0DA1D-615C-4050-ADE6-8F728C305CAB}" dt="2024-02-29T09:41:07.613" v="1818" actId="2696"/>
        <pc:sldMkLst>
          <pc:docMk/>
          <pc:sldMk cId="0" sldId="2147481944"/>
        </pc:sldMkLst>
        <pc:spChg chg="add mod">
          <ac:chgData name="Lin Liu" userId="c40ec9ff-3243-45fa-93ed-b72a66f9ae62" providerId="ADAL" clId="{CFC0DA1D-615C-4050-ADE6-8F728C305CAB}" dt="2024-02-28T22:21:12.845" v="482" actId="20577"/>
          <ac:spMkLst>
            <pc:docMk/>
            <pc:sldMk cId="0" sldId="2147481944"/>
            <ac:spMk id="2" creationId="{C91B4246-5F80-E49C-4FE0-3852C2E503C5}"/>
          </ac:spMkLst>
        </pc:spChg>
      </pc:sldChg>
      <pc:sldChg chg="del">
        <pc:chgData name="Lin Liu" userId="c40ec9ff-3243-45fa-93ed-b72a66f9ae62" providerId="ADAL" clId="{CFC0DA1D-615C-4050-ADE6-8F728C305CAB}" dt="2024-02-29T09:41:37.943" v="1820" actId="2696"/>
        <pc:sldMkLst>
          <pc:docMk/>
          <pc:sldMk cId="2501391238" sldId="2147481958"/>
        </pc:sldMkLst>
      </pc:sldChg>
      <pc:sldChg chg="new del">
        <pc:chgData name="Lin Liu" userId="c40ec9ff-3243-45fa-93ed-b72a66f9ae62" providerId="ADAL" clId="{CFC0DA1D-615C-4050-ADE6-8F728C305CAB}" dt="2024-02-29T06:20:48.414" v="529" actId="680"/>
        <pc:sldMkLst>
          <pc:docMk/>
          <pc:sldMk cId="759216275" sldId="2147481959"/>
        </pc:sldMkLst>
      </pc:sldChg>
      <pc:sldChg chg="modSp del mod">
        <pc:chgData name="Lin Liu" userId="c40ec9ff-3243-45fa-93ed-b72a66f9ae62" providerId="ADAL" clId="{CFC0DA1D-615C-4050-ADE6-8F728C305CAB}" dt="2024-02-29T06:27:31.995" v="556" actId="2696"/>
        <pc:sldMkLst>
          <pc:docMk/>
          <pc:sldMk cId="4139463800" sldId="2147481959"/>
        </pc:sldMkLst>
        <pc:spChg chg="mod">
          <ac:chgData name="Lin Liu" userId="c40ec9ff-3243-45fa-93ed-b72a66f9ae62" providerId="ADAL" clId="{CFC0DA1D-615C-4050-ADE6-8F728C305CAB}" dt="2024-02-29T06:26:59.085" v="555"/>
          <ac:spMkLst>
            <pc:docMk/>
            <pc:sldMk cId="4139463800" sldId="2147481959"/>
            <ac:spMk id="2" creationId="{C91B4246-5F80-E49C-4FE0-3852C2E503C5}"/>
          </ac:spMkLst>
        </pc:spChg>
        <pc:spChg chg="mod">
          <ac:chgData name="Lin Liu" userId="c40ec9ff-3243-45fa-93ed-b72a66f9ae62" providerId="ADAL" clId="{CFC0DA1D-615C-4050-ADE6-8F728C305CAB}" dt="2024-02-29T06:24:17.367" v="549" actId="14100"/>
          <ac:spMkLst>
            <pc:docMk/>
            <pc:sldMk cId="4139463800" sldId="2147481959"/>
            <ac:spMk id="232450" creationId="{22226EB0-E738-30BD-C563-A32F26C003F9}"/>
          </ac:spMkLst>
        </pc:spChg>
      </pc:sldChg>
      <pc:sldChg chg="modSp mod modNotesTx">
        <pc:chgData name="Lin Liu" userId="c40ec9ff-3243-45fa-93ed-b72a66f9ae62" providerId="ADAL" clId="{CFC0DA1D-615C-4050-ADE6-8F728C305CAB}" dt="2024-03-01T04:36:54.364" v="2398" actId="20577"/>
        <pc:sldMkLst>
          <pc:docMk/>
          <pc:sldMk cId="4124485828" sldId="2147481960"/>
        </pc:sldMkLst>
        <pc:spChg chg="mod">
          <ac:chgData name="Lin Liu" userId="c40ec9ff-3243-45fa-93ed-b72a66f9ae62" providerId="ADAL" clId="{CFC0DA1D-615C-4050-ADE6-8F728C305CAB}" dt="2024-02-29T06:28:00.999" v="590" actId="20577"/>
          <ac:spMkLst>
            <pc:docMk/>
            <pc:sldMk cId="4124485828" sldId="2147481960"/>
            <ac:spMk id="2" creationId="{561BE952-8B43-EA5C-24FD-6F11B286BDBE}"/>
          </ac:spMkLst>
        </pc:spChg>
        <pc:spChg chg="mod">
          <ac:chgData name="Lin Liu" userId="c40ec9ff-3243-45fa-93ed-b72a66f9ae62" providerId="ADAL" clId="{CFC0DA1D-615C-4050-ADE6-8F728C305CAB}" dt="2024-03-01T04:36:54.364" v="2398" actId="20577"/>
          <ac:spMkLst>
            <pc:docMk/>
            <pc:sldMk cId="4124485828" sldId="2147481960"/>
            <ac:spMk id="4" creationId="{317BB85A-B9F6-1324-4814-9FA3FB976230}"/>
          </ac:spMkLst>
        </pc:spChg>
      </pc:sldChg>
    </pc:docChg>
  </pc:docChgLst>
  <pc:docChgLst>
    <pc:chgData name="Julie Cong" userId="S::julie.cong@gilead.com::5b93f38e-1607-4090-b816-14726e284610" providerId="AD" clId="Web-{C584BFEF-7BD6-574F-187A-539FC858C396}"/>
    <pc:docChg chg="modSld">
      <pc:chgData name="Julie Cong" userId="S::julie.cong@gilead.com::5b93f38e-1607-4090-b816-14726e284610" providerId="AD" clId="Web-{C584BFEF-7BD6-574F-187A-539FC858C396}" dt="2024-03-01T04:01:15.235" v="1" actId="20577"/>
      <pc:docMkLst>
        <pc:docMk/>
      </pc:docMkLst>
      <pc:sldChg chg="modSp">
        <pc:chgData name="Julie Cong" userId="S::julie.cong@gilead.com::5b93f38e-1607-4090-b816-14726e284610" providerId="AD" clId="Web-{C584BFEF-7BD6-574F-187A-539FC858C396}" dt="2024-03-01T04:01:15.235" v="1" actId="20577"/>
        <pc:sldMkLst>
          <pc:docMk/>
          <pc:sldMk cId="0" sldId="2147481943"/>
        </pc:sldMkLst>
        <pc:spChg chg="mod">
          <ac:chgData name="Julie Cong" userId="S::julie.cong@gilead.com::5b93f38e-1607-4090-b816-14726e284610" providerId="AD" clId="Web-{C584BFEF-7BD6-574F-187A-539FC858C396}" dt="2024-03-01T04:01:15.235" v="1" actId="20577"/>
          <ac:spMkLst>
            <pc:docMk/>
            <pc:sldMk cId="0" sldId="2147481943"/>
            <ac:spMk id="230404" creationId="{C027DDE2-8495-836E-9830-FA5F50810E3C}"/>
          </ac:spMkLst>
        </pc:spChg>
      </pc:sldChg>
    </pc:docChg>
  </pc:docChgLst>
  <pc:docChgLst>
    <pc:chgData name="Jiang Zhang" userId="S::jiang.zhang40@gilead.com::dd687e3c-3fa3-49f4-89c7-abf04b10d670" providerId="AD" clId="Web-{4C7867D3-2859-B620-F3F4-069AED749FD7}"/>
    <pc:docChg chg="modSld">
      <pc:chgData name="Jiang Zhang" userId="S::jiang.zhang40@gilead.com::dd687e3c-3fa3-49f4-89c7-abf04b10d670" providerId="AD" clId="Web-{4C7867D3-2859-B620-F3F4-069AED749FD7}" dt="2024-03-01T01:50:58.998" v="17"/>
      <pc:docMkLst>
        <pc:docMk/>
      </pc:docMkLst>
      <pc:sldChg chg="modSp">
        <pc:chgData name="Jiang Zhang" userId="S::jiang.zhang40@gilead.com::dd687e3c-3fa3-49f4-89c7-abf04b10d670" providerId="AD" clId="Web-{4C7867D3-2859-B620-F3F4-069AED749FD7}" dt="2024-03-01T01:48:53.525" v="3" actId="20577"/>
        <pc:sldMkLst>
          <pc:docMk/>
          <pc:sldMk cId="3511209459" sldId="1993219489"/>
        </pc:sldMkLst>
        <pc:spChg chg="mod">
          <ac:chgData name="Jiang Zhang" userId="S::jiang.zhang40@gilead.com::dd687e3c-3fa3-49f4-89c7-abf04b10d670" providerId="AD" clId="Web-{4C7867D3-2859-B620-F3F4-069AED749FD7}" dt="2024-03-01T01:48:53.228" v="1" actId="20577"/>
          <ac:spMkLst>
            <pc:docMk/>
            <pc:sldMk cId="3511209459" sldId="1993219489"/>
            <ac:spMk id="2" creationId="{4E54B96F-D3C4-AA50-44A8-D68BCA854438}"/>
          </ac:spMkLst>
        </pc:spChg>
        <pc:spChg chg="mod">
          <ac:chgData name="Jiang Zhang" userId="S::jiang.zhang40@gilead.com::dd687e3c-3fa3-49f4-89c7-abf04b10d670" providerId="AD" clId="Web-{4C7867D3-2859-B620-F3F4-069AED749FD7}" dt="2024-03-01T01:48:53.525" v="3" actId="20577"/>
          <ac:spMkLst>
            <pc:docMk/>
            <pc:sldMk cId="3511209459" sldId="1993219489"/>
            <ac:spMk id="11" creationId="{D2D6361F-42EC-BE9D-66EB-0A0DC2F59361}"/>
          </ac:spMkLst>
        </pc:spChg>
      </pc:sldChg>
      <pc:sldChg chg="delSp">
        <pc:chgData name="Jiang Zhang" userId="S::jiang.zhang40@gilead.com::dd687e3c-3fa3-49f4-89c7-abf04b10d670" providerId="AD" clId="Web-{4C7867D3-2859-B620-F3F4-069AED749FD7}" dt="2024-03-01T01:50:58.998" v="17"/>
        <pc:sldMkLst>
          <pc:docMk/>
          <pc:sldMk cId="920196135" sldId="2147470901"/>
        </pc:sldMkLst>
        <pc:spChg chg="del">
          <ac:chgData name="Jiang Zhang" userId="S::jiang.zhang40@gilead.com::dd687e3c-3fa3-49f4-89c7-abf04b10d670" providerId="AD" clId="Web-{4C7867D3-2859-B620-F3F4-069AED749FD7}" dt="2024-03-01T01:50:58.998" v="17"/>
          <ac:spMkLst>
            <pc:docMk/>
            <pc:sldMk cId="920196135" sldId="2147470901"/>
            <ac:spMk id="79" creationId="{34DF3A2A-6C5E-3684-0A3E-72E49784C28E}"/>
          </ac:spMkLst>
        </pc:spChg>
      </pc:sldChg>
      <pc:sldChg chg="modSp">
        <pc:chgData name="Jiang Zhang" userId="S::jiang.zhang40@gilead.com::dd687e3c-3fa3-49f4-89c7-abf04b10d670" providerId="AD" clId="Web-{4C7867D3-2859-B620-F3F4-069AED749FD7}" dt="2024-03-01T01:49:19.651" v="10" actId="20577"/>
        <pc:sldMkLst>
          <pc:docMk/>
          <pc:sldMk cId="37699174" sldId="2147481466"/>
        </pc:sldMkLst>
        <pc:spChg chg="mod">
          <ac:chgData name="Jiang Zhang" userId="S::jiang.zhang40@gilead.com::dd687e3c-3fa3-49f4-89c7-abf04b10d670" providerId="AD" clId="Web-{4C7867D3-2859-B620-F3F4-069AED749FD7}" dt="2024-03-01T01:49:19.651" v="10" actId="20577"/>
          <ac:spMkLst>
            <pc:docMk/>
            <pc:sldMk cId="37699174" sldId="2147481466"/>
            <ac:spMk id="2" creationId="{24606721-7B3E-DC3A-E2A6-AF694371C1C0}"/>
          </ac:spMkLst>
        </pc:spChg>
      </pc:sldChg>
      <pc:sldChg chg="modSp">
        <pc:chgData name="Jiang Zhang" userId="S::jiang.zhang40@gilead.com::dd687e3c-3fa3-49f4-89c7-abf04b10d670" providerId="AD" clId="Web-{4C7867D3-2859-B620-F3F4-069AED749FD7}" dt="2024-03-01T01:50:34.169" v="16" actId="20577"/>
        <pc:sldMkLst>
          <pc:docMk/>
          <pc:sldMk cId="193087337" sldId="2147481957"/>
        </pc:sldMkLst>
        <pc:spChg chg="mod">
          <ac:chgData name="Jiang Zhang" userId="S::jiang.zhang40@gilead.com::dd687e3c-3fa3-49f4-89c7-abf04b10d670" providerId="AD" clId="Web-{4C7867D3-2859-B620-F3F4-069AED749FD7}" dt="2024-03-01T01:50:34.169" v="16" actId="20577"/>
          <ac:spMkLst>
            <pc:docMk/>
            <pc:sldMk cId="193087337" sldId="2147481957"/>
            <ac:spMk id="2" creationId="{952A8B94-43B9-3CF8-F629-77B639881624}"/>
          </ac:spMkLst>
        </pc:spChg>
      </pc:sldChg>
    </pc:docChg>
  </pc:docChgLst>
  <pc:docChgLst>
    <pc:chgData name="Cong Xu" userId="eaf71eaa-ea98-4adc-85b0-757092ce69d9" providerId="ADAL" clId="{A04C213E-0B80-4FC7-90A9-B8536E23A3B6}"/>
    <pc:docChg chg="undo redo custSel addSld delSld modSld sldOrd">
      <pc:chgData name="Cong Xu" userId="eaf71eaa-ea98-4adc-85b0-757092ce69d9" providerId="ADAL" clId="{A04C213E-0B80-4FC7-90A9-B8536E23A3B6}" dt="2024-02-29T06:44:17.272" v="6572" actId="20577"/>
      <pc:docMkLst>
        <pc:docMk/>
      </pc:docMkLst>
      <pc:sldChg chg="modSp mod">
        <pc:chgData name="Cong Xu" userId="eaf71eaa-ea98-4adc-85b0-757092ce69d9" providerId="ADAL" clId="{A04C213E-0B80-4FC7-90A9-B8536E23A3B6}" dt="2024-02-29T05:49:25.299" v="6304" actId="20577"/>
        <pc:sldMkLst>
          <pc:docMk/>
          <pc:sldMk cId="0" sldId="2147481900"/>
        </pc:sldMkLst>
        <pc:spChg chg="mod">
          <ac:chgData name="Cong Xu" userId="eaf71eaa-ea98-4adc-85b0-757092ce69d9" providerId="ADAL" clId="{A04C213E-0B80-4FC7-90A9-B8536E23A3B6}" dt="2024-02-28T14:48:24.152" v="3908" actId="20577"/>
          <ac:spMkLst>
            <pc:docMk/>
            <pc:sldMk cId="0" sldId="2147481900"/>
            <ac:spMk id="12" creationId="{B1CEE251-44E9-E8C5-6A80-90EF625C3AE7}"/>
          </ac:spMkLst>
        </pc:spChg>
        <pc:graphicFrameChg chg="mod modGraphic">
          <ac:chgData name="Cong Xu" userId="eaf71eaa-ea98-4adc-85b0-757092ce69d9" providerId="ADAL" clId="{A04C213E-0B80-4FC7-90A9-B8536E23A3B6}" dt="2024-02-29T05:49:25.299" v="6304" actId="20577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  <pc:sldChg chg="addSp delSp modSp mod ord">
        <pc:chgData name="Cong Xu" userId="eaf71eaa-ea98-4adc-85b0-757092ce69d9" providerId="ADAL" clId="{A04C213E-0B80-4FC7-90A9-B8536E23A3B6}" dt="2024-02-28T16:02:25.160" v="4933" actId="313"/>
        <pc:sldMkLst>
          <pc:docMk/>
          <pc:sldMk cId="0" sldId="2147481919"/>
        </pc:sldMkLst>
        <pc:spChg chg="add mod">
          <ac:chgData name="Cong Xu" userId="eaf71eaa-ea98-4adc-85b0-757092ce69d9" providerId="ADAL" clId="{A04C213E-0B80-4FC7-90A9-B8536E23A3B6}" dt="2024-02-28T16:02:25.160" v="4933" actId="313"/>
          <ac:spMkLst>
            <pc:docMk/>
            <pc:sldMk cId="0" sldId="2147481919"/>
            <ac:spMk id="2" creationId="{D1AE1F7D-49B8-D995-7F87-97AAEA121151}"/>
          </ac:spMkLst>
        </pc:spChg>
        <pc:spChg chg="mod">
          <ac:chgData name="Cong Xu" userId="eaf71eaa-ea98-4adc-85b0-757092ce69d9" providerId="ADAL" clId="{A04C213E-0B80-4FC7-90A9-B8536E23A3B6}" dt="2024-02-28T09:57:19.894" v="2395" actId="20577"/>
          <ac:spMkLst>
            <pc:docMk/>
            <pc:sldMk cId="0" sldId="2147481919"/>
            <ac:spMk id="225282" creationId="{0F9C6FB9-25E4-906C-2E4F-1DE81DE30B17}"/>
          </ac:spMkLst>
        </pc:spChg>
        <pc:spChg chg="del">
          <ac:chgData name="Cong Xu" userId="eaf71eaa-ea98-4adc-85b0-757092ce69d9" providerId="ADAL" clId="{A04C213E-0B80-4FC7-90A9-B8536E23A3B6}" dt="2024-02-28T09:06:07.778" v="1557" actId="478"/>
          <ac:spMkLst>
            <pc:docMk/>
            <pc:sldMk cId="0" sldId="2147481919"/>
            <ac:spMk id="225284" creationId="{BD73931D-5E6B-B9F2-1F83-0093EC638634}"/>
          </ac:spMkLst>
        </pc:spChg>
      </pc:sldChg>
      <pc:sldChg chg="delSp modSp mod">
        <pc:chgData name="Cong Xu" userId="eaf71eaa-ea98-4adc-85b0-757092ce69d9" providerId="ADAL" clId="{A04C213E-0B80-4FC7-90A9-B8536E23A3B6}" dt="2024-02-29T06:44:17.272" v="6572" actId="20577"/>
        <pc:sldMkLst>
          <pc:docMk/>
          <pc:sldMk cId="0" sldId="2147481940"/>
        </pc:sldMkLst>
        <pc:spChg chg="del">
          <ac:chgData name="Cong Xu" userId="eaf71eaa-ea98-4adc-85b0-757092ce69d9" providerId="ADAL" clId="{A04C213E-0B80-4FC7-90A9-B8536E23A3B6}" dt="2024-02-27T09:59:31.877" v="96" actId="478"/>
          <ac:spMkLst>
            <pc:docMk/>
            <pc:sldMk cId="0" sldId="2147481940"/>
            <ac:spMk id="6" creationId="{559378FD-7FCB-08F1-2532-7D44D696A537}"/>
          </ac:spMkLst>
        </pc:spChg>
        <pc:spChg chg="del">
          <ac:chgData name="Cong Xu" userId="eaf71eaa-ea98-4adc-85b0-757092ce69d9" providerId="ADAL" clId="{A04C213E-0B80-4FC7-90A9-B8536E23A3B6}" dt="2024-02-27T09:59:31.877" v="96" actId="478"/>
          <ac:spMkLst>
            <pc:docMk/>
            <pc:sldMk cId="0" sldId="2147481940"/>
            <ac:spMk id="227333" creationId="{53D37BAE-764A-6958-D950-EAF3AF7E4A7A}"/>
          </ac:spMkLst>
        </pc:spChg>
        <pc:spChg chg="del">
          <ac:chgData name="Cong Xu" userId="eaf71eaa-ea98-4adc-85b0-757092ce69d9" providerId="ADAL" clId="{A04C213E-0B80-4FC7-90A9-B8536E23A3B6}" dt="2024-02-27T09:59:31.877" v="96" actId="478"/>
          <ac:spMkLst>
            <pc:docMk/>
            <pc:sldMk cId="0" sldId="2147481940"/>
            <ac:spMk id="227334" creationId="{E30E5B1A-547E-7347-0B6A-AAE29F802DC3}"/>
          </ac:spMkLst>
        </pc:spChg>
        <pc:spChg chg="del">
          <ac:chgData name="Cong Xu" userId="eaf71eaa-ea98-4adc-85b0-757092ce69d9" providerId="ADAL" clId="{A04C213E-0B80-4FC7-90A9-B8536E23A3B6}" dt="2024-02-27T09:59:31.877" v="96" actId="478"/>
          <ac:spMkLst>
            <pc:docMk/>
            <pc:sldMk cId="0" sldId="2147481940"/>
            <ac:spMk id="227335" creationId="{F49EA44A-60AB-20BA-C028-13D22A4815E2}"/>
          </ac:spMkLst>
        </pc:spChg>
        <pc:graphicFrameChg chg="mod modGraphic">
          <ac:chgData name="Cong Xu" userId="eaf71eaa-ea98-4adc-85b0-757092ce69d9" providerId="ADAL" clId="{A04C213E-0B80-4FC7-90A9-B8536E23A3B6}" dt="2024-02-29T06:44:17.272" v="6572" actId="20577"/>
          <ac:graphicFrameMkLst>
            <pc:docMk/>
            <pc:sldMk cId="0" sldId="2147481940"/>
            <ac:graphicFrameMk id="3" creationId="{2C954DA7-9323-722E-F6B7-741FE0C088C7}"/>
          </ac:graphicFrameMkLst>
        </pc:graphicFrameChg>
      </pc:sldChg>
      <pc:sldChg chg="del">
        <pc:chgData name="Cong Xu" userId="eaf71eaa-ea98-4adc-85b0-757092ce69d9" providerId="ADAL" clId="{A04C213E-0B80-4FC7-90A9-B8536E23A3B6}" dt="2024-02-27T10:24:33.470" v="373" actId="47"/>
        <pc:sldMkLst>
          <pc:docMk/>
          <pc:sldMk cId="0" sldId="2147481941"/>
        </pc:sldMkLst>
      </pc:sldChg>
      <pc:sldChg chg="modSp mod">
        <pc:chgData name="Cong Xu" userId="eaf71eaa-ea98-4adc-85b0-757092ce69d9" providerId="ADAL" clId="{A04C213E-0B80-4FC7-90A9-B8536E23A3B6}" dt="2024-02-29T04:16:55.762" v="5899" actId="6549"/>
        <pc:sldMkLst>
          <pc:docMk/>
          <pc:sldMk cId="0" sldId="2147481944"/>
        </pc:sldMkLst>
        <pc:spChg chg="mod">
          <ac:chgData name="Cong Xu" userId="eaf71eaa-ea98-4adc-85b0-757092ce69d9" providerId="ADAL" clId="{A04C213E-0B80-4FC7-90A9-B8536E23A3B6}" dt="2024-02-29T04:16:55.762" v="5899" actId="6549"/>
          <ac:spMkLst>
            <pc:docMk/>
            <pc:sldMk cId="0" sldId="2147481944"/>
            <ac:spMk id="2" creationId="{C91B4246-5F80-E49C-4FE0-3852C2E503C5}"/>
          </ac:spMkLst>
        </pc:spChg>
        <pc:spChg chg="mod">
          <ac:chgData name="Cong Xu" userId="eaf71eaa-ea98-4adc-85b0-757092ce69d9" providerId="ADAL" clId="{A04C213E-0B80-4FC7-90A9-B8536E23A3B6}" dt="2024-02-29T04:09:18.444" v="5701" actId="6549"/>
          <ac:spMkLst>
            <pc:docMk/>
            <pc:sldMk cId="0" sldId="2147481944"/>
            <ac:spMk id="232450" creationId="{22226EB0-E738-30BD-C563-A32F26C003F9}"/>
          </ac:spMkLst>
        </pc:spChg>
      </pc:sldChg>
      <pc:sldChg chg="modSp del mod">
        <pc:chgData name="Cong Xu" userId="eaf71eaa-ea98-4adc-85b0-757092ce69d9" providerId="ADAL" clId="{A04C213E-0B80-4FC7-90A9-B8536E23A3B6}" dt="2024-02-29T03:28:15.340" v="5312" actId="47"/>
        <pc:sldMkLst>
          <pc:docMk/>
          <pc:sldMk cId="0" sldId="2147481947"/>
        </pc:sldMkLst>
        <pc:spChg chg="mod">
          <ac:chgData name="Cong Xu" userId="eaf71eaa-ea98-4adc-85b0-757092ce69d9" providerId="ADAL" clId="{A04C213E-0B80-4FC7-90A9-B8536E23A3B6}" dt="2024-02-26T10:42:06.502" v="19" actId="20577"/>
          <ac:spMkLst>
            <pc:docMk/>
            <pc:sldMk cId="0" sldId="2147481947"/>
            <ac:spMk id="233474" creationId="{9FE601AC-43DB-05E9-0C4D-422FF7B60723}"/>
          </ac:spMkLst>
        </pc:spChg>
      </pc:sldChg>
      <pc:sldChg chg="modSp add mod">
        <pc:chgData name="Cong Xu" userId="eaf71eaa-ea98-4adc-85b0-757092ce69d9" providerId="ADAL" clId="{A04C213E-0B80-4FC7-90A9-B8536E23A3B6}" dt="2024-02-26T10:41:29.844" v="3" actId="20577"/>
        <pc:sldMkLst>
          <pc:docMk/>
          <pc:sldMk cId="2876813170" sldId="2147481948"/>
        </pc:sldMkLst>
        <pc:spChg chg="mod">
          <ac:chgData name="Cong Xu" userId="eaf71eaa-ea98-4adc-85b0-757092ce69d9" providerId="ADAL" clId="{A04C213E-0B80-4FC7-90A9-B8536E23A3B6}" dt="2024-02-26T10:41:29.844" v="3" actId="20577"/>
          <ac:spMkLst>
            <pc:docMk/>
            <pc:sldMk cId="2876813170" sldId="2147481948"/>
            <ac:spMk id="231426" creationId="{AEDDF617-48A1-4D66-A767-F04520EE4D41}"/>
          </ac:spMkLst>
        </pc:spChg>
      </pc:sldChg>
      <pc:sldChg chg="delSp modSp add mod">
        <pc:chgData name="Cong Xu" userId="eaf71eaa-ea98-4adc-85b0-757092ce69d9" providerId="ADAL" clId="{A04C213E-0B80-4FC7-90A9-B8536E23A3B6}" dt="2024-02-26T10:41:45.450" v="6" actId="478"/>
        <pc:sldMkLst>
          <pc:docMk/>
          <pc:sldMk cId="4184619985" sldId="2147481949"/>
        </pc:sldMkLst>
        <pc:spChg chg="del mod">
          <ac:chgData name="Cong Xu" userId="eaf71eaa-ea98-4adc-85b0-757092ce69d9" providerId="ADAL" clId="{A04C213E-0B80-4FC7-90A9-B8536E23A3B6}" dt="2024-02-26T10:41:45.450" v="6" actId="478"/>
          <ac:spMkLst>
            <pc:docMk/>
            <pc:sldMk cId="4184619985" sldId="2147481949"/>
            <ac:spMk id="232450" creationId="{22226EB0-E738-30BD-C563-A32F26C003F9}"/>
          </ac:spMkLst>
        </pc:spChg>
      </pc:sldChg>
      <pc:sldChg chg="add">
        <pc:chgData name="Cong Xu" userId="eaf71eaa-ea98-4adc-85b0-757092ce69d9" providerId="ADAL" clId="{A04C213E-0B80-4FC7-90A9-B8536E23A3B6}" dt="2024-02-26T10:41:54.939" v="7"/>
        <pc:sldMkLst>
          <pc:docMk/>
          <pc:sldMk cId="2434072229" sldId="2147481950"/>
        </pc:sldMkLst>
      </pc:sldChg>
      <pc:sldChg chg="delSp modSp add del mod">
        <pc:chgData name="Cong Xu" userId="eaf71eaa-ea98-4adc-85b0-757092ce69d9" providerId="ADAL" clId="{A04C213E-0B80-4FC7-90A9-B8536E23A3B6}" dt="2024-02-29T03:28:17.139" v="5313" actId="47"/>
        <pc:sldMkLst>
          <pc:docMk/>
          <pc:sldMk cId="3724341170" sldId="2147481951"/>
        </pc:sldMkLst>
        <pc:spChg chg="mod">
          <ac:chgData name="Cong Xu" userId="eaf71eaa-ea98-4adc-85b0-757092ce69d9" providerId="ADAL" clId="{A04C213E-0B80-4FC7-90A9-B8536E23A3B6}" dt="2024-02-26T10:43:36.843" v="94" actId="20577"/>
          <ac:spMkLst>
            <pc:docMk/>
            <pc:sldMk cId="3724341170" sldId="2147481951"/>
            <ac:spMk id="234498" creationId="{9AC02AF7-A750-CE90-E60C-EA22923FB7AC}"/>
          </ac:spMkLst>
        </pc:spChg>
        <pc:graphicFrameChg chg="del">
          <ac:chgData name="Cong Xu" userId="eaf71eaa-ea98-4adc-85b0-757092ce69d9" providerId="ADAL" clId="{A04C213E-0B80-4FC7-90A9-B8536E23A3B6}" dt="2024-02-26T10:43:40.307" v="95" actId="478"/>
          <ac:graphicFrameMkLst>
            <pc:docMk/>
            <pc:sldMk cId="3724341170" sldId="2147481951"/>
            <ac:graphicFrameMk id="4" creationId="{5C6EFBCF-5065-336E-8C64-7D594609B66E}"/>
          </ac:graphicFrameMkLst>
        </pc:graphicFrameChg>
      </pc:sldChg>
      <pc:sldChg chg="modSp add mod">
        <pc:chgData name="Cong Xu" userId="eaf71eaa-ea98-4adc-85b0-757092ce69d9" providerId="ADAL" clId="{A04C213E-0B80-4FC7-90A9-B8536E23A3B6}" dt="2024-02-28T02:44:12.175" v="822" actId="20577"/>
        <pc:sldMkLst>
          <pc:docMk/>
          <pc:sldMk cId="1615356334" sldId="2147481953"/>
        </pc:sldMkLst>
        <pc:spChg chg="mod">
          <ac:chgData name="Cong Xu" userId="eaf71eaa-ea98-4adc-85b0-757092ce69d9" providerId="ADAL" clId="{A04C213E-0B80-4FC7-90A9-B8536E23A3B6}" dt="2024-02-28T02:44:12.175" v="822" actId="20577"/>
          <ac:spMkLst>
            <pc:docMk/>
            <pc:sldMk cId="1615356334" sldId="2147481953"/>
            <ac:spMk id="233474" creationId="{9FE601AC-43DB-05E9-0C4D-422FF7B60723}"/>
          </ac:spMkLst>
        </pc:spChg>
      </pc:sldChg>
      <pc:sldChg chg="addSp modSp add mod">
        <pc:chgData name="Cong Xu" userId="eaf71eaa-ea98-4adc-85b0-757092ce69d9" providerId="ADAL" clId="{A04C213E-0B80-4FC7-90A9-B8536E23A3B6}" dt="2024-02-29T05:53:31.501" v="6309" actId="20577"/>
        <pc:sldMkLst>
          <pc:docMk/>
          <pc:sldMk cId="4090136369" sldId="2147481954"/>
        </pc:sldMkLst>
        <pc:spChg chg="add mod">
          <ac:chgData name="Cong Xu" userId="eaf71eaa-ea98-4adc-85b0-757092ce69d9" providerId="ADAL" clId="{A04C213E-0B80-4FC7-90A9-B8536E23A3B6}" dt="2024-02-28T02:53:00.528" v="1420" actId="20577"/>
          <ac:spMkLst>
            <pc:docMk/>
            <pc:sldMk cId="4090136369" sldId="2147481954"/>
            <ac:spMk id="3" creationId="{846F6916-C114-D5BA-04AD-C28F02E5DC35}"/>
          </ac:spMkLst>
        </pc:spChg>
        <pc:spChg chg="mod">
          <ac:chgData name="Cong Xu" userId="eaf71eaa-ea98-4adc-85b0-757092ce69d9" providerId="ADAL" clId="{A04C213E-0B80-4FC7-90A9-B8536E23A3B6}" dt="2024-02-29T05:53:31.501" v="6309" actId="20577"/>
          <ac:spMkLst>
            <pc:docMk/>
            <pc:sldMk cId="4090136369" sldId="2147481954"/>
            <ac:spMk id="234498" creationId="{9AC02AF7-A750-CE90-E60C-EA22923FB7AC}"/>
          </ac:spMkLst>
        </pc:spChg>
        <pc:graphicFrameChg chg="add mod modGraphic">
          <ac:chgData name="Cong Xu" userId="eaf71eaa-ea98-4adc-85b0-757092ce69d9" providerId="ADAL" clId="{A04C213E-0B80-4FC7-90A9-B8536E23A3B6}" dt="2024-02-28T03:44:04.493" v="1431" actId="20577"/>
          <ac:graphicFrameMkLst>
            <pc:docMk/>
            <pc:sldMk cId="4090136369" sldId="2147481954"/>
            <ac:graphicFrameMk id="2" creationId="{6EF41E9F-8144-762E-70E3-B82A32CFD43C}"/>
          </ac:graphicFrameMkLst>
        </pc:graphicFrameChg>
      </pc:sldChg>
      <pc:sldChg chg="addSp delSp modSp add mod">
        <pc:chgData name="Cong Xu" userId="eaf71eaa-ea98-4adc-85b0-757092ce69d9" providerId="ADAL" clId="{A04C213E-0B80-4FC7-90A9-B8536E23A3B6}" dt="2024-02-29T04:08:48.361" v="5700" actId="1076"/>
        <pc:sldMkLst>
          <pc:docMk/>
          <pc:sldMk cId="2266635273" sldId="2147481955"/>
        </pc:sldMkLst>
        <pc:spChg chg="mod">
          <ac:chgData name="Cong Xu" userId="eaf71eaa-ea98-4adc-85b0-757092ce69d9" providerId="ADAL" clId="{A04C213E-0B80-4FC7-90A9-B8536E23A3B6}" dt="2024-02-29T02:52:32.680" v="5219" actId="6549"/>
          <ac:spMkLst>
            <pc:docMk/>
            <pc:sldMk cId="2266635273" sldId="2147481955"/>
            <ac:spMk id="4" creationId="{E6EF1EDF-6398-B9F3-4175-2B17BC0B64B8}"/>
          </ac:spMkLst>
        </pc:spChg>
        <pc:spChg chg="add mod">
          <ac:chgData name="Cong Xu" userId="eaf71eaa-ea98-4adc-85b0-757092ce69d9" providerId="ADAL" clId="{A04C213E-0B80-4FC7-90A9-B8536E23A3B6}" dt="2024-02-29T04:06:08.747" v="5585" actId="14100"/>
          <ac:spMkLst>
            <pc:docMk/>
            <pc:sldMk cId="2266635273" sldId="2147481955"/>
            <ac:spMk id="5" creationId="{9B473182-1682-CEC7-8006-7C6E6F603CB0}"/>
          </ac:spMkLst>
        </pc:spChg>
        <pc:spChg chg="add del">
          <ac:chgData name="Cong Xu" userId="eaf71eaa-ea98-4adc-85b0-757092ce69d9" providerId="ADAL" clId="{A04C213E-0B80-4FC7-90A9-B8536E23A3B6}" dt="2024-02-28T09:04:36.823" v="1550" actId="22"/>
          <ac:spMkLst>
            <pc:docMk/>
            <pc:sldMk cId="2266635273" sldId="2147481955"/>
            <ac:spMk id="9" creationId="{E4A00908-38C0-31E4-8FA7-5A22730D4126}"/>
          </ac:spMkLst>
        </pc:spChg>
        <pc:spChg chg="add mod">
          <ac:chgData name="Cong Xu" userId="eaf71eaa-ea98-4adc-85b0-757092ce69d9" providerId="ADAL" clId="{A04C213E-0B80-4FC7-90A9-B8536E23A3B6}" dt="2024-02-29T04:08:48.361" v="5700" actId="1076"/>
          <ac:spMkLst>
            <pc:docMk/>
            <pc:sldMk cId="2266635273" sldId="2147481955"/>
            <ac:spMk id="9" creationId="{F22BF872-D515-F415-DD61-6ABC85834840}"/>
          </ac:spMkLst>
        </pc:spChg>
        <pc:spChg chg="add del">
          <ac:chgData name="Cong Xu" userId="eaf71eaa-ea98-4adc-85b0-757092ce69d9" providerId="ADAL" clId="{A04C213E-0B80-4FC7-90A9-B8536E23A3B6}" dt="2024-02-28T09:04:48.342" v="1552" actId="22"/>
          <ac:spMkLst>
            <pc:docMk/>
            <pc:sldMk cId="2266635273" sldId="2147481955"/>
            <ac:spMk id="11" creationId="{5D889D2E-6DB1-8390-9619-29CDEAD56269}"/>
          </ac:spMkLst>
        </pc:spChg>
        <pc:spChg chg="add del">
          <ac:chgData name="Cong Xu" userId="eaf71eaa-ea98-4adc-85b0-757092ce69d9" providerId="ADAL" clId="{A04C213E-0B80-4FC7-90A9-B8536E23A3B6}" dt="2024-02-28T09:05:50.765" v="1556" actId="22"/>
          <ac:spMkLst>
            <pc:docMk/>
            <pc:sldMk cId="2266635273" sldId="2147481955"/>
            <ac:spMk id="13" creationId="{CB02F24D-D098-9912-167A-25DE6F478E93}"/>
          </ac:spMkLst>
        </pc:spChg>
        <pc:picChg chg="mod">
          <ac:chgData name="Cong Xu" userId="eaf71eaa-ea98-4adc-85b0-757092ce69d9" providerId="ADAL" clId="{A04C213E-0B80-4FC7-90A9-B8536E23A3B6}" dt="2024-02-29T04:06:03.200" v="5583" actId="14100"/>
          <ac:picMkLst>
            <pc:docMk/>
            <pc:sldMk cId="2266635273" sldId="2147481955"/>
            <ac:picMk id="7" creationId="{FA77EC49-17B0-BD39-CF1D-D77368FCB61A}"/>
          </ac:picMkLst>
        </pc:picChg>
        <pc:picChg chg="mod">
          <ac:chgData name="Cong Xu" userId="eaf71eaa-ea98-4adc-85b0-757092ce69d9" providerId="ADAL" clId="{A04C213E-0B80-4FC7-90A9-B8536E23A3B6}" dt="2024-02-29T04:05:24.951" v="5573" actId="14100"/>
          <ac:picMkLst>
            <pc:docMk/>
            <pc:sldMk cId="2266635273" sldId="2147481955"/>
            <ac:picMk id="8" creationId="{34C4DCC3-4501-F562-8DDE-B9B93A9B6651}"/>
          </ac:picMkLst>
        </pc:picChg>
      </pc:sldChg>
      <pc:sldChg chg="addSp delSp modSp new mod">
        <pc:chgData name="Cong Xu" userId="eaf71eaa-ea98-4adc-85b0-757092ce69d9" providerId="ADAL" clId="{A04C213E-0B80-4FC7-90A9-B8536E23A3B6}" dt="2024-02-28T16:02:56.099" v="4935" actId="115"/>
        <pc:sldMkLst>
          <pc:docMk/>
          <pc:sldMk cId="3180645338" sldId="2147481956"/>
        </pc:sldMkLst>
        <pc:spChg chg="mod">
          <ac:chgData name="Cong Xu" userId="eaf71eaa-ea98-4adc-85b0-757092ce69d9" providerId="ADAL" clId="{A04C213E-0B80-4FC7-90A9-B8536E23A3B6}" dt="2024-02-28T09:28:43.947" v="1894" actId="6549"/>
          <ac:spMkLst>
            <pc:docMk/>
            <pc:sldMk cId="3180645338" sldId="2147481956"/>
            <ac:spMk id="2" creationId="{8BA2AC9D-76D6-CDEB-053E-9418FF9F7B7F}"/>
          </ac:spMkLst>
        </pc:spChg>
        <pc:spChg chg="add del">
          <ac:chgData name="Cong Xu" userId="eaf71eaa-ea98-4adc-85b0-757092ce69d9" providerId="ADAL" clId="{A04C213E-0B80-4FC7-90A9-B8536E23A3B6}" dt="2024-02-28T09:26:55.421" v="1815" actId="22"/>
          <ac:spMkLst>
            <pc:docMk/>
            <pc:sldMk cId="3180645338" sldId="2147481956"/>
            <ac:spMk id="5" creationId="{05A83A53-65AE-19C0-5FF9-182E4F2418D3}"/>
          </ac:spMkLst>
        </pc:spChg>
        <pc:spChg chg="add mod">
          <ac:chgData name="Cong Xu" userId="eaf71eaa-ea98-4adc-85b0-757092ce69d9" providerId="ADAL" clId="{A04C213E-0B80-4FC7-90A9-B8536E23A3B6}" dt="2024-02-28T16:02:56.099" v="4935" actId="115"/>
          <ac:spMkLst>
            <pc:docMk/>
            <pc:sldMk cId="3180645338" sldId="2147481956"/>
            <ac:spMk id="7" creationId="{F04A4BDF-2DB9-39AD-DC43-9A65A0874A3A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8" creationId="{98B69D67-EB66-9873-DC5C-10F01173A5D0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9" creationId="{F7781F16-CB25-17F7-D04A-5676EF773024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0" creationId="{FAD33900-F795-2F9A-A3D1-B6BC7830077A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1" creationId="{89F35B76-1F83-457F-019B-82D47FF068BB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2" creationId="{37914F01-30F2-52B2-0321-998ECD1CC60F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3" creationId="{08027F25-EEF4-4604-D3EA-E16B8D5A8E35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4" creationId="{236F4980-A45C-C988-7C44-F929DC0AF090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15" creationId="{90EEDD44-C897-F9B1-6BA5-E065ECEF2A6B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1" creationId="{D9D57D9D-3C71-657C-0C2C-F1430A8F434D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2" creationId="{4BD17E3B-B04A-05B4-7C46-4CAAFE4CF75E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5" creationId="{D36861C9-F817-2D29-452D-9CD00F76E3A4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6" creationId="{44E80BDA-F236-29C8-AD02-53749C459CC1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7" creationId="{18A63C84-ACFF-3DB7-4AB7-9A07DA9CCAB0}"/>
          </ac:spMkLst>
        </pc:spChg>
        <pc:spChg chg="add del mod">
          <ac:chgData name="Cong Xu" userId="eaf71eaa-ea98-4adc-85b0-757092ce69d9" providerId="ADAL" clId="{A04C213E-0B80-4FC7-90A9-B8536E23A3B6}" dt="2024-02-28T09:27:47.165" v="1826"/>
          <ac:spMkLst>
            <pc:docMk/>
            <pc:sldMk cId="3180645338" sldId="2147481956"/>
            <ac:spMk id="28" creationId="{F1CE37FA-F6E4-664E-BC54-448DD19DE2F1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29" creationId="{2246481B-67FF-B298-B13A-17AAD3815B27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30" creationId="{9FEDFB90-2520-36E6-6382-DBABF373FA9B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31" creationId="{33C7D11A-DDB7-93A4-73D1-999CAFCFF9B3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32" creationId="{82B28DE0-60DA-9941-81ED-38A40734D3CE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33" creationId="{C5A3D1CB-0990-F047-92B8-DFCEBA5AF933}"/>
          </ac:spMkLst>
        </pc:spChg>
        <pc:spChg chg="add del mod">
          <ac:chgData name="Cong Xu" userId="eaf71eaa-ea98-4adc-85b0-757092ce69d9" providerId="ADAL" clId="{A04C213E-0B80-4FC7-90A9-B8536E23A3B6}" dt="2024-02-28T10:15:30.224" v="2978" actId="478"/>
          <ac:spMkLst>
            <pc:docMk/>
            <pc:sldMk cId="3180645338" sldId="2147481956"/>
            <ac:spMk id="34" creationId="{C35A41B0-3626-E60B-E261-F9899F1C9147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35" creationId="{2A6C519E-32E8-65F4-6285-F647FF75BF72}"/>
          </ac:spMkLst>
        </pc:spChg>
        <pc:spChg chg="add del mod">
          <ac:chgData name="Cong Xu" userId="eaf71eaa-ea98-4adc-85b0-757092ce69d9" providerId="ADAL" clId="{A04C213E-0B80-4FC7-90A9-B8536E23A3B6}" dt="2024-02-28T10:16:16.546" v="2986" actId="478"/>
          <ac:spMkLst>
            <pc:docMk/>
            <pc:sldMk cId="3180645338" sldId="2147481956"/>
            <ac:spMk id="36" creationId="{94093E8F-310B-5078-A955-44F28F4D8C42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42" creationId="{BE7F86A9-3600-CD07-E40B-34CA8138C577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43" creationId="{70F89854-2528-D8BB-EECC-E0B46599E1E4}"/>
          </ac:spMkLst>
        </pc:spChg>
        <pc:spChg chg="add del mod">
          <ac:chgData name="Cong Xu" userId="eaf71eaa-ea98-4adc-85b0-757092ce69d9" providerId="ADAL" clId="{A04C213E-0B80-4FC7-90A9-B8536E23A3B6}" dt="2024-02-28T10:15:31.731" v="2979" actId="478"/>
          <ac:spMkLst>
            <pc:docMk/>
            <pc:sldMk cId="3180645338" sldId="2147481956"/>
            <ac:spMk id="46" creationId="{BA5189D0-80A2-C88E-990D-C6F50303048E}"/>
          </ac:spMkLst>
        </pc:spChg>
        <pc:spChg chg="add del mod">
          <ac:chgData name="Cong Xu" userId="eaf71eaa-ea98-4adc-85b0-757092ce69d9" providerId="ADAL" clId="{A04C213E-0B80-4FC7-90A9-B8536E23A3B6}" dt="2024-02-28T10:15:59.202" v="2983" actId="478"/>
          <ac:spMkLst>
            <pc:docMk/>
            <pc:sldMk cId="3180645338" sldId="2147481956"/>
            <ac:spMk id="47" creationId="{4E312617-030C-1D5C-8BDB-3CE972390EEB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48" creationId="{D630135F-B223-9968-8489-C34F0EE98479}"/>
          </ac:spMkLst>
        </pc:spChg>
        <pc:spChg chg="add mod">
          <ac:chgData name="Cong Xu" userId="eaf71eaa-ea98-4adc-85b0-757092ce69d9" providerId="ADAL" clId="{A04C213E-0B80-4FC7-90A9-B8536E23A3B6}" dt="2024-02-28T10:19:27.945" v="3035" actId="1037"/>
          <ac:spMkLst>
            <pc:docMk/>
            <pc:sldMk cId="3180645338" sldId="2147481956"/>
            <ac:spMk id="49" creationId="{2C6C0CE6-83E0-34DB-8D1B-9A06AC29F2B7}"/>
          </ac:spMkLst>
        </pc:sp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16" creationId="{DC01618E-A081-0C5A-EB11-04E1E9323C25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17" creationId="{A5141865-BDF8-BF95-BE23-E0EB300D3459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18" creationId="{2CD7AB93-4945-2D12-7C89-06489B8AF3F4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19" creationId="{5042F4C6-0430-9827-D7AD-72F568D1DE80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20" creationId="{79956A2C-C737-495E-DAD4-D554D9F3CA5F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23" creationId="{9B5E2C7A-39D6-B65B-57FA-8DF9C4981D34}"/>
          </ac:cxnSpMkLst>
        </pc:cxnChg>
        <pc:cxnChg chg="add del mod">
          <ac:chgData name="Cong Xu" userId="eaf71eaa-ea98-4adc-85b0-757092ce69d9" providerId="ADAL" clId="{A04C213E-0B80-4FC7-90A9-B8536E23A3B6}" dt="2024-02-28T09:27:47.165" v="1826"/>
          <ac:cxnSpMkLst>
            <pc:docMk/>
            <pc:sldMk cId="3180645338" sldId="2147481956"/>
            <ac:cxnSpMk id="24" creationId="{A6710560-EEB0-C00E-86A4-029F70ACF3EA}"/>
          </ac:cxnSpMkLst>
        </pc:cxnChg>
        <pc:cxnChg chg="add mod">
          <ac:chgData name="Cong Xu" userId="eaf71eaa-ea98-4adc-85b0-757092ce69d9" providerId="ADAL" clId="{A04C213E-0B80-4FC7-90A9-B8536E23A3B6}" dt="2024-02-28T10:19:27.945" v="3035" actId="1037"/>
          <ac:cxnSpMkLst>
            <pc:docMk/>
            <pc:sldMk cId="3180645338" sldId="2147481956"/>
            <ac:cxnSpMk id="37" creationId="{C8EE7536-0122-630F-A0B5-2178ED7D6ED1}"/>
          </ac:cxnSpMkLst>
        </pc:cxnChg>
        <pc:cxnChg chg="add mod">
          <ac:chgData name="Cong Xu" userId="eaf71eaa-ea98-4adc-85b0-757092ce69d9" providerId="ADAL" clId="{A04C213E-0B80-4FC7-90A9-B8536E23A3B6}" dt="2024-02-28T10:19:27.945" v="3035" actId="1037"/>
          <ac:cxnSpMkLst>
            <pc:docMk/>
            <pc:sldMk cId="3180645338" sldId="2147481956"/>
            <ac:cxnSpMk id="38" creationId="{6DC6B4ED-DEBB-D3BF-3D7D-51D84C80C844}"/>
          </ac:cxnSpMkLst>
        </pc:cxnChg>
        <pc:cxnChg chg="add mod">
          <ac:chgData name="Cong Xu" userId="eaf71eaa-ea98-4adc-85b0-757092ce69d9" providerId="ADAL" clId="{A04C213E-0B80-4FC7-90A9-B8536E23A3B6}" dt="2024-02-28T10:19:27.945" v="3035" actId="1037"/>
          <ac:cxnSpMkLst>
            <pc:docMk/>
            <pc:sldMk cId="3180645338" sldId="2147481956"/>
            <ac:cxnSpMk id="39" creationId="{5C249965-3DCD-35B3-57C1-AA7E96F38527}"/>
          </ac:cxnSpMkLst>
        </pc:cxnChg>
        <pc:cxnChg chg="add mod">
          <ac:chgData name="Cong Xu" userId="eaf71eaa-ea98-4adc-85b0-757092ce69d9" providerId="ADAL" clId="{A04C213E-0B80-4FC7-90A9-B8536E23A3B6}" dt="2024-02-28T10:19:27.945" v="3035" actId="1037"/>
          <ac:cxnSpMkLst>
            <pc:docMk/>
            <pc:sldMk cId="3180645338" sldId="2147481956"/>
            <ac:cxnSpMk id="40" creationId="{6E726B40-6B2A-8BF5-C200-4766AF909830}"/>
          </ac:cxnSpMkLst>
        </pc:cxnChg>
        <pc:cxnChg chg="add mod">
          <ac:chgData name="Cong Xu" userId="eaf71eaa-ea98-4adc-85b0-757092ce69d9" providerId="ADAL" clId="{A04C213E-0B80-4FC7-90A9-B8536E23A3B6}" dt="2024-02-28T10:19:27.945" v="3035" actId="1037"/>
          <ac:cxnSpMkLst>
            <pc:docMk/>
            <pc:sldMk cId="3180645338" sldId="2147481956"/>
            <ac:cxnSpMk id="41" creationId="{26101E37-145A-2FFF-CF60-74F54C1D68E0}"/>
          </ac:cxnSpMkLst>
        </pc:cxnChg>
        <pc:cxnChg chg="add del mod">
          <ac:chgData name="Cong Xu" userId="eaf71eaa-ea98-4adc-85b0-757092ce69d9" providerId="ADAL" clId="{A04C213E-0B80-4FC7-90A9-B8536E23A3B6}" dt="2024-02-28T10:16:02.245" v="2984" actId="478"/>
          <ac:cxnSpMkLst>
            <pc:docMk/>
            <pc:sldMk cId="3180645338" sldId="2147481956"/>
            <ac:cxnSpMk id="44" creationId="{7D945888-FE57-FEF0-24ED-4A043A5F3864}"/>
          </ac:cxnSpMkLst>
        </pc:cxnChg>
        <pc:cxnChg chg="add del mod">
          <ac:chgData name="Cong Xu" userId="eaf71eaa-ea98-4adc-85b0-757092ce69d9" providerId="ADAL" clId="{A04C213E-0B80-4FC7-90A9-B8536E23A3B6}" dt="2024-02-28T10:16:18.562" v="2987" actId="478"/>
          <ac:cxnSpMkLst>
            <pc:docMk/>
            <pc:sldMk cId="3180645338" sldId="2147481956"/>
            <ac:cxnSpMk id="45" creationId="{1CE46CFF-9FA9-3CDC-43B5-29A1D331134B}"/>
          </ac:cxnSpMkLst>
        </pc:cxnChg>
      </pc:sldChg>
      <pc:sldChg chg="new del">
        <pc:chgData name="Cong Xu" userId="eaf71eaa-ea98-4adc-85b0-757092ce69d9" providerId="ADAL" clId="{A04C213E-0B80-4FC7-90A9-B8536E23A3B6}" dt="2024-02-28T09:05:29.634" v="1554" actId="680"/>
        <pc:sldMkLst>
          <pc:docMk/>
          <pc:sldMk cId="3494609789" sldId="2147481956"/>
        </pc:sldMkLst>
      </pc:sldChg>
      <pc:sldChg chg="modSp add mod">
        <pc:chgData name="Cong Xu" userId="eaf71eaa-ea98-4adc-85b0-757092ce69d9" providerId="ADAL" clId="{A04C213E-0B80-4FC7-90A9-B8536E23A3B6}" dt="2024-02-29T05:51:59.875" v="6305" actId="20577"/>
        <pc:sldMkLst>
          <pc:docMk/>
          <pc:sldMk cId="2501391238" sldId="2147481958"/>
        </pc:sldMkLst>
        <pc:spChg chg="mod">
          <ac:chgData name="Cong Xu" userId="eaf71eaa-ea98-4adc-85b0-757092ce69d9" providerId="ADAL" clId="{A04C213E-0B80-4FC7-90A9-B8536E23A3B6}" dt="2024-02-29T05:51:59.875" v="6305" actId="20577"/>
          <ac:spMkLst>
            <pc:docMk/>
            <pc:sldMk cId="2501391238" sldId="2147481958"/>
            <ac:spMk id="2" creationId="{C91B4246-5F80-E49C-4FE0-3852C2E503C5}"/>
          </ac:spMkLst>
        </pc:spChg>
      </pc:sldChg>
    </pc:docChg>
  </pc:docChgLst>
  <pc:docChgLst>
    <pc:chgData name="Cong Xu" userId="S::cong.xu6@gilead.com::eaf71eaa-ea98-4adc-85b0-757092ce69d9" providerId="AD" clId="Web-{045A458A-3223-5B0C-5791-8E9034D1C263}"/>
    <pc:docChg chg="modSld">
      <pc:chgData name="Cong Xu" userId="S::cong.xu6@gilead.com::eaf71eaa-ea98-4adc-85b0-757092ce69d9" providerId="AD" clId="Web-{045A458A-3223-5B0C-5791-8E9034D1C263}" dt="2024-02-27T09:59:18.572" v="0"/>
      <pc:docMkLst>
        <pc:docMk/>
      </pc:docMkLst>
      <pc:sldChg chg="addSp modSp">
        <pc:chgData name="Cong Xu" userId="S::cong.xu6@gilead.com::eaf71eaa-ea98-4adc-85b0-757092ce69d9" providerId="AD" clId="Web-{045A458A-3223-5B0C-5791-8E9034D1C263}" dt="2024-02-27T09:59:18.572" v="0"/>
        <pc:sldMkLst>
          <pc:docMk/>
          <pc:sldMk cId="0" sldId="2147481940"/>
        </pc:sldMkLst>
        <pc:graphicFrameChg chg="add mod">
          <ac:chgData name="Cong Xu" userId="S::cong.xu6@gilead.com::eaf71eaa-ea98-4adc-85b0-757092ce69d9" providerId="AD" clId="Web-{045A458A-3223-5B0C-5791-8E9034D1C263}" dt="2024-02-27T09:59:18.572" v="0"/>
          <ac:graphicFrameMkLst>
            <pc:docMk/>
            <pc:sldMk cId="0" sldId="2147481940"/>
            <ac:graphicFrameMk id="3" creationId="{2C954DA7-9323-722E-F6B7-741FE0C088C7}"/>
          </ac:graphicFrameMkLst>
        </pc:graphicFrameChg>
      </pc:sldChg>
    </pc:docChg>
  </pc:docChgLst>
  <pc:docChgLst>
    <pc:chgData name="Lianquan Qi" userId="S::lianquan.qi1@gilead.com::44a87237-d90e-46d7-82ee-51c628a857b8" providerId="AD" clId="Web-{AF9C6669-033D-56F3-6874-53FD88946908}"/>
    <pc:docChg chg="modSld">
      <pc:chgData name="Lianquan Qi" userId="S::lianquan.qi1@gilead.com::44a87237-d90e-46d7-82ee-51c628a857b8" providerId="AD" clId="Web-{AF9C6669-033D-56F3-6874-53FD88946908}" dt="2024-02-26T23:36:42.997" v="19" actId="20577"/>
      <pc:docMkLst>
        <pc:docMk/>
      </pc:docMkLst>
      <pc:sldChg chg="modSp">
        <pc:chgData name="Lianquan Qi" userId="S::lianquan.qi1@gilead.com::44a87237-d90e-46d7-82ee-51c628a857b8" providerId="AD" clId="Web-{AF9C6669-033D-56F3-6874-53FD88946908}" dt="2024-02-26T23:36:42.997" v="19" actId="20577"/>
        <pc:sldMkLst>
          <pc:docMk/>
          <pc:sldMk cId="0" sldId="2147481943"/>
        </pc:sldMkLst>
        <pc:spChg chg="mod">
          <ac:chgData name="Lianquan Qi" userId="S::lianquan.qi1@gilead.com::44a87237-d90e-46d7-82ee-51c628a857b8" providerId="AD" clId="Web-{AF9C6669-033D-56F3-6874-53FD88946908}" dt="2024-02-26T23:36:42.997" v="19" actId="20577"/>
          <ac:spMkLst>
            <pc:docMk/>
            <pc:sldMk cId="0" sldId="2147481943"/>
            <ac:spMk id="230404" creationId="{C027DDE2-8495-836E-9830-FA5F50810E3C}"/>
          </ac:spMkLst>
        </pc:spChg>
      </pc:sldChg>
    </pc:docChg>
  </pc:docChgLst>
  <pc:docChgLst>
    <pc:chgData name="Lianquan Qi" userId="S::lianquan.qi1@gilead.com::44a87237-d90e-46d7-82ee-51c628a857b8" providerId="AD" clId="Web-{D7351F66-1D0A-04B7-01C4-0B7F08E9C941}"/>
    <pc:docChg chg="modSld">
      <pc:chgData name="Lianquan Qi" userId="S::lianquan.qi1@gilead.com::44a87237-d90e-46d7-82ee-51c628a857b8" providerId="AD" clId="Web-{D7351F66-1D0A-04B7-01C4-0B7F08E9C941}" dt="2024-02-26T23:32:36.264" v="118" actId="20577"/>
      <pc:docMkLst>
        <pc:docMk/>
      </pc:docMkLst>
      <pc:sldChg chg="modSp">
        <pc:chgData name="Lianquan Qi" userId="S::lianquan.qi1@gilead.com::44a87237-d90e-46d7-82ee-51c628a857b8" providerId="AD" clId="Web-{D7351F66-1D0A-04B7-01C4-0B7F08E9C941}" dt="2024-02-26T23:32:36.264" v="118" actId="20577"/>
        <pc:sldMkLst>
          <pc:docMk/>
          <pc:sldMk cId="0" sldId="2147481943"/>
        </pc:sldMkLst>
        <pc:spChg chg="mod">
          <ac:chgData name="Lianquan Qi" userId="S::lianquan.qi1@gilead.com::44a87237-d90e-46d7-82ee-51c628a857b8" providerId="AD" clId="Web-{D7351F66-1D0A-04B7-01C4-0B7F08E9C941}" dt="2024-02-26T23:32:36.264" v="118" actId="20577"/>
          <ac:spMkLst>
            <pc:docMk/>
            <pc:sldMk cId="0" sldId="2147481943"/>
            <ac:spMk id="230404" creationId="{C027DDE2-8495-836E-9830-FA5F50810E3C}"/>
          </ac:spMkLst>
        </pc:spChg>
      </pc:sldChg>
    </pc:docChg>
  </pc:docChgLst>
  <pc:docChgLst>
    <pc:chgData name="Jun Ge" userId="f33648de-7eae-4538-a127-5cfd3da83e87" providerId="ADAL" clId="{5B4D6913-49BF-40CA-8977-E33ABD6B81C5}"/>
    <pc:docChg chg="custSel addSld delSld modSld">
      <pc:chgData name="Jun Ge" userId="f33648de-7eae-4538-a127-5cfd3da83e87" providerId="ADAL" clId="{5B4D6913-49BF-40CA-8977-E33ABD6B81C5}" dt="2024-02-26T14:37:57.600" v="810" actId="6549"/>
      <pc:docMkLst>
        <pc:docMk/>
      </pc:docMkLst>
      <pc:sldChg chg="modSp mod">
        <pc:chgData name="Jun Ge" userId="f33648de-7eae-4538-a127-5cfd3da83e87" providerId="ADAL" clId="{5B4D6913-49BF-40CA-8977-E33ABD6B81C5}" dt="2024-02-26T14:35:54.191" v="751" actId="20577"/>
        <pc:sldMkLst>
          <pc:docMk/>
          <pc:sldMk cId="0" sldId="2147481943"/>
        </pc:sldMkLst>
        <pc:spChg chg="mod">
          <ac:chgData name="Jun Ge" userId="f33648de-7eae-4538-a127-5cfd3da83e87" providerId="ADAL" clId="{5B4D6913-49BF-40CA-8977-E33ABD6B81C5}" dt="2024-02-26T14:15:20.975" v="29" actId="20577"/>
          <ac:spMkLst>
            <pc:docMk/>
            <pc:sldMk cId="0" sldId="2147481943"/>
            <ac:spMk id="230402" creationId="{2B0A5855-C7EB-A93F-E704-5F022DC0854A}"/>
          </ac:spMkLst>
        </pc:spChg>
        <pc:spChg chg="mod">
          <ac:chgData name="Jun Ge" userId="f33648de-7eae-4538-a127-5cfd3da83e87" providerId="ADAL" clId="{5B4D6913-49BF-40CA-8977-E33ABD6B81C5}" dt="2024-02-26T14:35:54.191" v="751" actId="20577"/>
          <ac:spMkLst>
            <pc:docMk/>
            <pc:sldMk cId="0" sldId="2147481943"/>
            <ac:spMk id="230404" creationId="{C027DDE2-8495-836E-9830-FA5F50810E3C}"/>
          </ac:spMkLst>
        </pc:spChg>
      </pc:sldChg>
      <pc:sldChg chg="modSp mod">
        <pc:chgData name="Jun Ge" userId="f33648de-7eae-4538-a127-5cfd3da83e87" providerId="ADAL" clId="{5B4D6913-49BF-40CA-8977-E33ABD6B81C5}" dt="2024-02-26T14:37:57.600" v="810" actId="6549"/>
        <pc:sldMkLst>
          <pc:docMk/>
          <pc:sldMk cId="0" sldId="2147481945"/>
        </pc:sldMkLst>
        <pc:graphicFrameChg chg="modGraphic">
          <ac:chgData name="Jun Ge" userId="f33648de-7eae-4538-a127-5cfd3da83e87" providerId="ADAL" clId="{5B4D6913-49BF-40CA-8977-E33ABD6B81C5}" dt="2024-02-26T14:37:57.600" v="810" actId="6549"/>
          <ac:graphicFrameMkLst>
            <pc:docMk/>
            <pc:sldMk cId="0" sldId="2147481945"/>
            <ac:graphicFrameMk id="4" creationId="{5C6EFBCF-5065-336E-8C64-7D594609B66E}"/>
          </ac:graphicFrameMkLst>
        </pc:graphicFrameChg>
      </pc:sldChg>
      <pc:sldChg chg="del">
        <pc:chgData name="Jun Ge" userId="f33648de-7eae-4538-a127-5cfd3da83e87" providerId="ADAL" clId="{5B4D6913-49BF-40CA-8977-E33ABD6B81C5}" dt="2024-02-26T14:36:49.086" v="770" actId="47"/>
        <pc:sldMkLst>
          <pc:docMk/>
          <pc:sldMk cId="2876813170" sldId="2147481948"/>
        </pc:sldMkLst>
      </pc:sldChg>
      <pc:sldChg chg="del">
        <pc:chgData name="Jun Ge" userId="f33648de-7eae-4538-a127-5cfd3da83e87" providerId="ADAL" clId="{5B4D6913-49BF-40CA-8977-E33ABD6B81C5}" dt="2024-02-26T14:36:49.898" v="771" actId="47"/>
        <pc:sldMkLst>
          <pc:docMk/>
          <pc:sldMk cId="4184619985" sldId="2147481949"/>
        </pc:sldMkLst>
      </pc:sldChg>
      <pc:sldChg chg="modSp new del mod">
        <pc:chgData name="Jun Ge" userId="f33648de-7eae-4538-a127-5cfd3da83e87" providerId="ADAL" clId="{5B4D6913-49BF-40CA-8977-E33ABD6B81C5}" dt="2024-02-26T14:15:43.427" v="30" actId="47"/>
        <pc:sldMkLst>
          <pc:docMk/>
          <pc:sldMk cId="206198439" sldId="2147481952"/>
        </pc:sldMkLst>
        <pc:spChg chg="mod">
          <ac:chgData name="Jun Ge" userId="f33648de-7eae-4538-a127-5cfd3da83e87" providerId="ADAL" clId="{5B4D6913-49BF-40CA-8977-E33ABD6B81C5}" dt="2024-02-26T14:15:04.079" v="23" actId="20577"/>
          <ac:spMkLst>
            <pc:docMk/>
            <pc:sldMk cId="206198439" sldId="2147481952"/>
            <ac:spMk id="2" creationId="{B88C24E6-C9DE-F7D6-DBC8-07D581EEE953}"/>
          </ac:spMkLst>
        </pc:spChg>
      </pc:sldChg>
      <pc:sldChg chg="modSp new mod">
        <pc:chgData name="Jun Ge" userId="f33648de-7eae-4538-a127-5cfd3da83e87" providerId="ADAL" clId="{5B4D6913-49BF-40CA-8977-E33ABD6B81C5}" dt="2024-02-26T14:36:45.433" v="769" actId="20577"/>
        <pc:sldMkLst>
          <pc:docMk/>
          <pc:sldMk cId="2094902050" sldId="2147481952"/>
        </pc:sldMkLst>
        <pc:spChg chg="mod">
          <ac:chgData name="Jun Ge" userId="f33648de-7eae-4538-a127-5cfd3da83e87" providerId="ADAL" clId="{5B4D6913-49BF-40CA-8977-E33ABD6B81C5}" dt="2024-02-26T14:36:45.433" v="769" actId="20577"/>
          <ac:spMkLst>
            <pc:docMk/>
            <pc:sldMk cId="2094902050" sldId="2147481952"/>
            <ac:spMk id="2" creationId="{561BE952-8B43-EA5C-24FD-6F11B286BDBE}"/>
          </ac:spMkLst>
        </pc:spChg>
      </pc:sldChg>
    </pc:docChg>
  </pc:docChgLst>
  <pc:docChgLst>
    <pc:chgData name="Wendy Tian" userId="S::wendy.tian2@gilead.com::521159a6-0bdf-46d6-a367-5e3b8827257f" providerId="AD" clId="Web-{16E86E9E-C255-5B53-8782-02A3306AEF44}"/>
    <pc:docChg chg="addSld modSld sldOrd">
      <pc:chgData name="Wendy Tian" userId="S::wendy.tian2@gilead.com::521159a6-0bdf-46d6-a367-5e3b8827257f" providerId="AD" clId="Web-{16E86E9E-C255-5B53-8782-02A3306AEF44}" dt="2024-03-01T04:34:38.405" v="59"/>
      <pc:docMkLst>
        <pc:docMk/>
      </pc:docMkLst>
      <pc:sldChg chg="modSp">
        <pc:chgData name="Wendy Tian" userId="S::wendy.tian2@gilead.com::521159a6-0bdf-46d6-a367-5e3b8827257f" providerId="AD" clId="Web-{16E86E9E-C255-5B53-8782-02A3306AEF44}" dt="2024-03-01T04:34:38.405" v="59"/>
        <pc:sldMkLst>
          <pc:docMk/>
          <pc:sldMk cId="0" sldId="2147481900"/>
        </pc:sldMkLst>
        <pc:graphicFrameChg chg="mod modGraphic">
          <ac:chgData name="Wendy Tian" userId="S::wendy.tian2@gilead.com::521159a6-0bdf-46d6-a367-5e3b8827257f" providerId="AD" clId="Web-{16E86E9E-C255-5B53-8782-02A3306AEF44}" dt="2024-03-01T04:34:38.405" v="59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  <pc:sldChg chg="ord">
        <pc:chgData name="Wendy Tian" userId="S::wendy.tian2@gilead.com::521159a6-0bdf-46d6-a367-5e3b8827257f" providerId="AD" clId="Web-{16E86E9E-C255-5B53-8782-02A3306AEF44}" dt="2024-03-01T04:24:26.296" v="0"/>
        <pc:sldMkLst>
          <pc:docMk/>
          <pc:sldMk cId="193087337" sldId="2147481957"/>
        </pc:sldMkLst>
      </pc:sldChg>
      <pc:sldChg chg="modSp add">
        <pc:chgData name="Wendy Tian" userId="S::wendy.tian2@gilead.com::521159a6-0bdf-46d6-a367-5e3b8827257f" providerId="AD" clId="Web-{16E86E9E-C255-5B53-8782-02A3306AEF44}" dt="2024-03-01T04:27:56.520" v="4" actId="20577"/>
        <pc:sldMkLst>
          <pc:docMk/>
          <pc:sldMk cId="3941357142" sldId="2147481961"/>
        </pc:sldMkLst>
        <pc:spChg chg="mod">
          <ac:chgData name="Wendy Tian" userId="S::wendy.tian2@gilead.com::521159a6-0bdf-46d6-a367-5e3b8827257f" providerId="AD" clId="Web-{16E86E9E-C255-5B53-8782-02A3306AEF44}" dt="2024-03-01T04:27:56.520" v="4" actId="20577"/>
          <ac:spMkLst>
            <pc:docMk/>
            <pc:sldMk cId="3941357142" sldId="2147481961"/>
            <ac:spMk id="2" creationId="{952A8B94-43B9-3CF8-F629-77B639881624}"/>
          </ac:spMkLst>
        </pc:spChg>
      </pc:sldChg>
    </pc:docChg>
  </pc:docChgLst>
  <pc:docChgLst>
    <pc:chgData name="Cong Xu" userId="S::cong.xu6@gilead.com::eaf71eaa-ea98-4adc-85b0-757092ce69d9" providerId="AD" clId="Web-{470D9649-C17B-B4D6-D768-9B7A99BD639E}"/>
    <pc:docChg chg="modSld">
      <pc:chgData name="Cong Xu" userId="S::cong.xu6@gilead.com::eaf71eaa-ea98-4adc-85b0-757092ce69d9" providerId="AD" clId="Web-{470D9649-C17B-B4D6-D768-9B7A99BD639E}" dt="2024-02-28T01:33:02.436" v="19"/>
      <pc:docMkLst>
        <pc:docMk/>
      </pc:docMkLst>
      <pc:sldChg chg="modSp">
        <pc:chgData name="Cong Xu" userId="S::cong.xu6@gilead.com::eaf71eaa-ea98-4adc-85b0-757092ce69d9" providerId="AD" clId="Web-{470D9649-C17B-B4D6-D768-9B7A99BD639E}" dt="2024-02-28T01:33:02.436" v="19"/>
        <pc:sldMkLst>
          <pc:docMk/>
          <pc:sldMk cId="0" sldId="2147481940"/>
        </pc:sldMkLst>
        <pc:graphicFrameChg chg="mod modGraphic">
          <ac:chgData name="Cong Xu" userId="S::cong.xu6@gilead.com::eaf71eaa-ea98-4adc-85b0-757092ce69d9" providerId="AD" clId="Web-{470D9649-C17B-B4D6-D768-9B7A99BD639E}" dt="2024-02-28T01:33:02.436" v="19"/>
          <ac:graphicFrameMkLst>
            <pc:docMk/>
            <pc:sldMk cId="0" sldId="2147481940"/>
            <ac:graphicFrameMk id="3" creationId="{2C954DA7-9323-722E-F6B7-741FE0C088C7}"/>
          </ac:graphicFrameMkLst>
        </pc:graphicFrameChg>
      </pc:sldChg>
    </pc:docChg>
  </pc:docChgLst>
  <pc:docChgLst>
    <pc:chgData name="Jiang Zhang" userId="dd687e3c-3fa3-49f4-89c7-abf04b10d670" providerId="ADAL" clId="{39A64896-AD1E-4C32-AA77-7D55ED32B2AD}"/>
    <pc:docChg chg="undo custSel delSld modSld sldOrd">
      <pc:chgData name="Jiang Zhang" userId="dd687e3c-3fa3-49f4-89c7-abf04b10d670" providerId="ADAL" clId="{39A64896-AD1E-4C32-AA77-7D55ED32B2AD}" dt="2024-02-29T10:41:43.347" v="2930" actId="313"/>
      <pc:docMkLst>
        <pc:docMk/>
      </pc:docMkLst>
      <pc:sldChg chg="addSp delSp modSp">
        <pc:chgData name="Jiang Zhang" userId="dd687e3c-3fa3-49f4-89c7-abf04b10d670" providerId="ADAL" clId="{39A64896-AD1E-4C32-AA77-7D55ED32B2AD}" dt="2024-02-29T03:37:39.321" v="1222"/>
        <pc:sldMkLst>
          <pc:docMk/>
          <pc:sldMk cId="0" sldId="306"/>
        </pc:sldMkLst>
        <pc:spChg chg="add del mod">
          <ac:chgData name="Jiang Zhang" userId="dd687e3c-3fa3-49f4-89c7-abf04b10d670" providerId="ADAL" clId="{39A64896-AD1E-4C32-AA77-7D55ED32B2AD}" dt="2024-02-29T03:37:39.321" v="1222"/>
          <ac:spMkLst>
            <pc:docMk/>
            <pc:sldMk cId="0" sldId="306"/>
            <ac:spMk id="2" creationId="{2CFDAA30-3861-13B4-6919-E908790B75A3}"/>
          </ac:spMkLst>
        </pc:spChg>
      </pc:sldChg>
      <pc:sldChg chg="addSp delSp modSp mod modNotesTx">
        <pc:chgData name="Jiang Zhang" userId="dd687e3c-3fa3-49f4-89c7-abf04b10d670" providerId="ADAL" clId="{39A64896-AD1E-4C32-AA77-7D55ED32B2AD}" dt="2024-02-29T09:11:29.475" v="2340" actId="552"/>
        <pc:sldMkLst>
          <pc:docMk/>
          <pc:sldMk cId="3511209459" sldId="1993219489"/>
        </pc:sldMkLst>
        <pc:spChg chg="add mod">
          <ac:chgData name="Jiang Zhang" userId="dd687e3c-3fa3-49f4-89c7-abf04b10d670" providerId="ADAL" clId="{39A64896-AD1E-4C32-AA77-7D55ED32B2AD}" dt="2024-02-29T09:11:29.475" v="2340" actId="552"/>
          <ac:spMkLst>
            <pc:docMk/>
            <pc:sldMk cId="3511209459" sldId="1993219489"/>
            <ac:spMk id="2" creationId="{4E54B96F-D3C4-AA50-44A8-D68BCA854438}"/>
          </ac:spMkLst>
        </pc:spChg>
        <pc:spChg chg="mod">
          <ac:chgData name="Jiang Zhang" userId="dd687e3c-3fa3-49f4-89c7-abf04b10d670" providerId="ADAL" clId="{39A64896-AD1E-4C32-AA77-7D55ED32B2AD}" dt="2024-02-29T09:05:42.156" v="2260" actId="20577"/>
          <ac:spMkLst>
            <pc:docMk/>
            <pc:sldMk cId="3511209459" sldId="1993219489"/>
            <ac:spMk id="3" creationId="{8C447B63-5511-4AE0-9C10-AAA95B0B08A0}"/>
          </ac:spMkLst>
        </pc:spChg>
        <pc:spChg chg="mod">
          <ac:chgData name="Jiang Zhang" userId="dd687e3c-3fa3-49f4-89c7-abf04b10d670" providerId="ADAL" clId="{39A64896-AD1E-4C32-AA77-7D55ED32B2AD}" dt="2024-02-29T08:50:08.092" v="2092" actId="164"/>
          <ac:spMkLst>
            <pc:docMk/>
            <pc:sldMk cId="3511209459" sldId="1993219489"/>
            <ac:spMk id="5" creationId="{A623C69E-4B82-4789-923B-827B2ECF1100}"/>
          </ac:spMkLst>
        </pc:spChg>
        <pc:spChg chg="mod">
          <ac:chgData name="Jiang Zhang" userId="dd687e3c-3fa3-49f4-89c7-abf04b10d670" providerId="ADAL" clId="{39A64896-AD1E-4C32-AA77-7D55ED32B2AD}" dt="2024-02-29T08:50:08.092" v="2092" actId="164"/>
          <ac:spMkLst>
            <pc:docMk/>
            <pc:sldMk cId="3511209459" sldId="1993219489"/>
            <ac:spMk id="6" creationId="{191666A6-FA8D-47B1-9DF2-AB08D3932A88}"/>
          </ac:spMkLst>
        </pc:spChg>
        <pc:spChg chg="add mod">
          <ac:chgData name="Jiang Zhang" userId="dd687e3c-3fa3-49f4-89c7-abf04b10d670" providerId="ADAL" clId="{39A64896-AD1E-4C32-AA77-7D55ED32B2AD}" dt="2024-02-29T08:50:08.092" v="2092" actId="164"/>
          <ac:spMkLst>
            <pc:docMk/>
            <pc:sldMk cId="3511209459" sldId="1993219489"/>
            <ac:spMk id="7" creationId="{2DE2AEDD-6064-1068-3350-E0B00BBD37D6}"/>
          </ac:spMkLst>
        </pc:spChg>
        <pc:spChg chg="add mod">
          <ac:chgData name="Jiang Zhang" userId="dd687e3c-3fa3-49f4-89c7-abf04b10d670" providerId="ADAL" clId="{39A64896-AD1E-4C32-AA77-7D55ED32B2AD}" dt="2024-02-29T09:11:29.475" v="2340" actId="552"/>
          <ac:spMkLst>
            <pc:docMk/>
            <pc:sldMk cId="3511209459" sldId="1993219489"/>
            <ac:spMk id="8" creationId="{EF0B9016-9FF2-0BEF-A353-784E35A42972}"/>
          </ac:spMkLst>
        </pc:spChg>
        <pc:spChg chg="mod">
          <ac:chgData name="Jiang Zhang" userId="dd687e3c-3fa3-49f4-89c7-abf04b10d670" providerId="ADAL" clId="{39A64896-AD1E-4C32-AA77-7D55ED32B2AD}" dt="2024-02-29T09:11:29.475" v="2340" actId="552"/>
          <ac:spMkLst>
            <pc:docMk/>
            <pc:sldMk cId="3511209459" sldId="1993219489"/>
            <ac:spMk id="9" creationId="{B1F1DAA2-1042-4446-AA67-DDE6075FB007}"/>
          </ac:spMkLst>
        </pc:spChg>
        <pc:spChg chg="add mod">
          <ac:chgData name="Jiang Zhang" userId="dd687e3c-3fa3-49f4-89c7-abf04b10d670" providerId="ADAL" clId="{39A64896-AD1E-4C32-AA77-7D55ED32B2AD}" dt="2024-02-29T08:50:08.092" v="2092" actId="164"/>
          <ac:spMkLst>
            <pc:docMk/>
            <pc:sldMk cId="3511209459" sldId="1993219489"/>
            <ac:spMk id="10" creationId="{858F76C5-892B-EA4C-CB5A-9F348CEB67E1}"/>
          </ac:spMkLst>
        </pc:spChg>
        <pc:spChg chg="add mod">
          <ac:chgData name="Jiang Zhang" userId="dd687e3c-3fa3-49f4-89c7-abf04b10d670" providerId="ADAL" clId="{39A64896-AD1E-4C32-AA77-7D55ED32B2AD}" dt="2024-02-29T09:11:29.475" v="2340" actId="552"/>
          <ac:spMkLst>
            <pc:docMk/>
            <pc:sldMk cId="3511209459" sldId="1993219489"/>
            <ac:spMk id="11" creationId="{D2D6361F-42EC-BE9D-66EB-0A0DC2F59361}"/>
          </ac:spMkLst>
        </pc:spChg>
        <pc:spChg chg="del mod">
          <ac:chgData name="Jiang Zhang" userId="dd687e3c-3fa3-49f4-89c7-abf04b10d670" providerId="ADAL" clId="{39A64896-AD1E-4C32-AA77-7D55ED32B2AD}" dt="2024-02-29T03:37:35.058" v="1220" actId="478"/>
          <ac:spMkLst>
            <pc:docMk/>
            <pc:sldMk cId="3511209459" sldId="1993219489"/>
            <ac:spMk id="12" creationId="{C9D4C4EB-1FE1-4C73-9C78-139978BA9D78}"/>
          </ac:spMkLst>
        </pc:spChg>
        <pc:grpChg chg="add mod">
          <ac:chgData name="Jiang Zhang" userId="dd687e3c-3fa3-49f4-89c7-abf04b10d670" providerId="ADAL" clId="{39A64896-AD1E-4C32-AA77-7D55ED32B2AD}" dt="2024-02-29T08:53:41.330" v="2128" actId="1036"/>
          <ac:grpSpMkLst>
            <pc:docMk/>
            <pc:sldMk cId="3511209459" sldId="1993219489"/>
            <ac:grpSpMk id="12" creationId="{2E295A91-5578-849E-5251-FD624B07242A}"/>
          </ac:grpSpMkLst>
        </pc:grpChg>
      </pc:sldChg>
      <pc:sldChg chg="addSp delSp modSp mod">
        <pc:chgData name="Jiang Zhang" userId="dd687e3c-3fa3-49f4-89c7-abf04b10d670" providerId="ADAL" clId="{39A64896-AD1E-4C32-AA77-7D55ED32B2AD}" dt="2024-02-29T03:32:25.655" v="1143" actId="20577"/>
        <pc:sldMkLst>
          <pc:docMk/>
          <pc:sldMk cId="920196135" sldId="2147470901"/>
        </pc:sldMkLst>
        <pc:spChg chg="mod">
          <ac:chgData name="Jiang Zhang" userId="dd687e3c-3fa3-49f4-89c7-abf04b10d670" providerId="ADAL" clId="{39A64896-AD1E-4C32-AA77-7D55ED32B2AD}" dt="2024-02-29T03:30:05.287" v="1095" actId="14100"/>
          <ac:spMkLst>
            <pc:docMk/>
            <pc:sldMk cId="920196135" sldId="2147470901"/>
            <ac:spMk id="2" creationId="{16299C85-6699-BFB2-DC78-36A544D9486F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4" creationId="{E2B1317E-908F-F083-BBAE-2E94A2FE47CC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9" creationId="{C2106117-812C-7AC9-CDAB-844D7335E9D0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10" creationId="{5A122BCE-9DE4-1A12-6E8B-30C0BCFFB622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19" creationId="{E5D70124-E531-9A01-95BA-A90086FFAAF4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36" creationId="{000E2DC8-DA35-C1DD-EFCA-638A89A4C04A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40" creationId="{CD3801FF-BF57-4EA1-FDDA-EF48887BD561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50" creationId="{E8E0EAD8-861A-6641-E596-50174426CA65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51" creationId="{D695A1FF-4D84-0436-45C4-8B0E6721C443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52" creationId="{55D2185D-C099-FE4F-FEA6-F24E7617ED09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53" creationId="{9BF2B964-C721-D90B-C5E3-073C6601839A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54" creationId="{7628A39E-13A7-BB5A-3BC9-27B0AB30E72C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55" creationId="{9ADD3B97-261E-3359-BB67-EE15DFE06AFE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56" creationId="{1B865A05-1D0B-6692-17DB-1E0089442031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63" creationId="{512A7B05-E7BD-AF5E-CD6A-F715C287A047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64" creationId="{B400A258-B645-82F0-2320-9847433CEC9C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65" creationId="{1FBED161-ABD6-F81C-257B-7A5943BFAF90}"/>
          </ac:spMkLst>
        </pc:spChg>
        <pc:spChg chg="mod">
          <ac:chgData name="Jiang Zhang" userId="dd687e3c-3fa3-49f4-89c7-abf04b10d670" providerId="ADAL" clId="{39A64896-AD1E-4C32-AA77-7D55ED32B2AD}" dt="2024-02-29T03:13:49.100" v="560" actId="20577"/>
          <ac:spMkLst>
            <pc:docMk/>
            <pc:sldMk cId="920196135" sldId="2147470901"/>
            <ac:spMk id="68" creationId="{23D70496-A7C4-46FF-4936-783FDBA6E20C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72" creationId="{BCB80CDF-E18F-48C1-AFA4-250792925356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73" creationId="{63D7A121-EC2B-7D35-B8C2-F67541388B0D}"/>
          </ac:spMkLst>
        </pc:spChg>
        <pc:spChg chg="mod">
          <ac:chgData name="Jiang Zhang" userId="dd687e3c-3fa3-49f4-89c7-abf04b10d670" providerId="ADAL" clId="{39A64896-AD1E-4C32-AA77-7D55ED32B2AD}" dt="2024-02-29T03:32:20.808" v="1130" actId="20577"/>
          <ac:spMkLst>
            <pc:docMk/>
            <pc:sldMk cId="920196135" sldId="2147470901"/>
            <ac:spMk id="74" creationId="{11AAD615-07EA-7F0F-5BC1-8EA0BAD33D37}"/>
          </ac:spMkLst>
        </pc:spChg>
        <pc:spChg chg="mod">
          <ac:chgData name="Jiang Zhang" userId="dd687e3c-3fa3-49f4-89c7-abf04b10d670" providerId="ADAL" clId="{39A64896-AD1E-4C32-AA77-7D55ED32B2AD}" dt="2024-02-29T03:32:25.655" v="1143" actId="20577"/>
          <ac:spMkLst>
            <pc:docMk/>
            <pc:sldMk cId="920196135" sldId="2147470901"/>
            <ac:spMk id="75" creationId="{4C6795C9-4096-A029-50F9-710FC0E4E322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76" creationId="{57FA5070-3D19-954C-BC07-E28E2D089096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77" creationId="{979E1B3A-8D44-4408-56DD-7E1DA244F1FD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78" creationId="{AD972338-80FD-DDA4-0D89-12B8CA7D6A35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79" creationId="{34DF3A2A-6C5E-3684-0A3E-72E49784C28E}"/>
          </ac:spMkLst>
        </pc:spChg>
        <pc:spChg chg="mod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81" creationId="{F1F64CA6-401D-381E-9E17-EEEDE943DF53}"/>
          </ac:spMkLst>
        </pc:spChg>
        <pc:spChg chg="mod">
          <ac:chgData name="Jiang Zhang" userId="dd687e3c-3fa3-49f4-89c7-abf04b10d670" providerId="ADAL" clId="{39A64896-AD1E-4C32-AA77-7D55ED32B2AD}" dt="2024-02-29T03:25:06.048" v="831" actId="165"/>
          <ac:spMkLst>
            <pc:docMk/>
            <pc:sldMk cId="920196135" sldId="2147470901"/>
            <ac:spMk id="86" creationId="{663622ED-C0CC-9ADC-CEAF-1CC3F8ED51F7}"/>
          </ac:spMkLst>
        </pc:spChg>
        <pc:spChg chg="mod">
          <ac:chgData name="Jiang Zhang" userId="dd687e3c-3fa3-49f4-89c7-abf04b10d670" providerId="ADAL" clId="{39A64896-AD1E-4C32-AA77-7D55ED32B2AD}" dt="2024-02-29T03:27:33.182" v="989" actId="14100"/>
          <ac:spMkLst>
            <pc:docMk/>
            <pc:sldMk cId="920196135" sldId="2147470901"/>
            <ac:spMk id="92" creationId="{19CB2701-B7A1-9A88-7001-875BDABDBCBF}"/>
          </ac:spMkLst>
        </pc:spChg>
        <pc:spChg chg="mod">
          <ac:chgData name="Jiang Zhang" userId="dd687e3c-3fa3-49f4-89c7-abf04b10d670" providerId="ADAL" clId="{39A64896-AD1E-4C32-AA77-7D55ED32B2AD}" dt="2024-02-29T03:28:41.179" v="1024" actId="14100"/>
          <ac:spMkLst>
            <pc:docMk/>
            <pc:sldMk cId="920196135" sldId="2147470901"/>
            <ac:spMk id="93" creationId="{28FAAB40-6DAF-A789-827F-0B0594614011}"/>
          </ac:spMkLst>
        </pc:spChg>
        <pc:spChg chg="mod">
          <ac:chgData name="Jiang Zhang" userId="dd687e3c-3fa3-49f4-89c7-abf04b10d670" providerId="ADAL" clId="{39A64896-AD1E-4C32-AA77-7D55ED32B2AD}" dt="2024-02-29T03:27:39.062" v="993" actId="14100"/>
          <ac:spMkLst>
            <pc:docMk/>
            <pc:sldMk cId="920196135" sldId="2147470901"/>
            <ac:spMk id="102" creationId="{AE894648-206F-C058-A538-1360460BFF41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132" creationId="{388EF82F-CEEB-AD82-DBFE-D343C17BBDF3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133" creationId="{D323C2CB-617B-98AD-BEEC-DF322DA45BA1}"/>
          </ac:spMkLst>
        </pc:spChg>
        <pc:spChg chg="mod topLvl">
          <ac:chgData name="Jiang Zhang" userId="dd687e3c-3fa3-49f4-89c7-abf04b10d670" providerId="ADAL" clId="{39A64896-AD1E-4C32-AA77-7D55ED32B2AD}" dt="2024-02-29T03:30:38.131" v="1100" actId="164"/>
          <ac:spMkLst>
            <pc:docMk/>
            <pc:sldMk cId="920196135" sldId="2147470901"/>
            <ac:spMk id="153" creationId="{CD68B2A6-A806-A36B-FF02-EDFAF358598E}"/>
          </ac:spMkLst>
        </pc:spChg>
        <pc:grpChg chg="add 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8" creationId="{6990E3B0-0582-7E51-683F-D428B01D7CCC}"/>
          </ac:grpSpMkLst>
        </pc:grpChg>
        <pc:grpChg chg="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35" creationId="{036BAEBB-B107-0A12-A331-06D2DC35114C}"/>
          </ac:grpSpMkLst>
        </pc:grpChg>
        <pc:grpChg chg="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43" creationId="{6FBFFAB4-0D40-EFDA-5D87-B820AC25C282}"/>
          </ac:grpSpMkLst>
        </pc:grpChg>
        <pc:grpChg chg="mod topLvl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46" creationId="{0D5DD696-BA34-9207-1748-B389BEE91FCC}"/>
          </ac:grpSpMkLst>
        </pc:grpChg>
        <pc:grpChg chg="mod topLvl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60" creationId="{85CD1879-A16A-051F-6706-21AD9A94EA69}"/>
          </ac:grpSpMkLst>
        </pc:grpChg>
        <pc:grpChg chg="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82" creationId="{BBCBAF11-75E7-84C7-6182-771874561DB8}"/>
          </ac:grpSpMkLst>
        </pc:grpChg>
        <pc:grpChg chg="del">
          <ac:chgData name="Jiang Zhang" userId="dd687e3c-3fa3-49f4-89c7-abf04b10d670" providerId="ADAL" clId="{39A64896-AD1E-4C32-AA77-7D55ED32B2AD}" dt="2024-02-29T03:25:06.048" v="831" actId="165"/>
          <ac:grpSpMkLst>
            <pc:docMk/>
            <pc:sldMk cId="920196135" sldId="2147470901"/>
            <ac:grpSpMk id="87" creationId="{15847248-25EE-63E2-AE0E-F0610B04CE67}"/>
          </ac:grpSpMkLst>
        </pc:grpChg>
        <pc:grpChg chg="mod">
          <ac:chgData name="Jiang Zhang" userId="dd687e3c-3fa3-49f4-89c7-abf04b10d670" providerId="ADAL" clId="{39A64896-AD1E-4C32-AA77-7D55ED32B2AD}" dt="2024-02-29T03:25:06.048" v="831" actId="165"/>
          <ac:grpSpMkLst>
            <pc:docMk/>
            <pc:sldMk cId="920196135" sldId="2147470901"/>
            <ac:grpSpMk id="91" creationId="{A58A5C45-1D50-68E5-B03F-8F5E5366B31C}"/>
          </ac:grpSpMkLst>
        </pc:grpChg>
        <pc:grpChg chg="mod topLvl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94" creationId="{EBBF71DE-4E50-0F07-96BF-3326A1746FFC}"/>
          </ac:grpSpMkLst>
        </pc:grpChg>
        <pc:grpChg chg="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100" creationId="{17A1F14A-F23E-D66C-0410-FB87A0580CE1}"/>
          </ac:grpSpMkLst>
        </pc:grpChg>
        <pc:grpChg chg="mod topLvl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104" creationId="{0AFC4A32-1EE3-66B9-0E45-F7372023094B}"/>
          </ac:grpSpMkLst>
        </pc:grpChg>
        <pc:grpChg chg="mod">
          <ac:chgData name="Jiang Zhang" userId="dd687e3c-3fa3-49f4-89c7-abf04b10d670" providerId="ADAL" clId="{39A64896-AD1E-4C32-AA77-7D55ED32B2AD}" dt="2024-02-29T03:30:38.131" v="1100" actId="164"/>
          <ac:grpSpMkLst>
            <pc:docMk/>
            <pc:sldMk cId="920196135" sldId="2147470901"/>
            <ac:grpSpMk id="165" creationId="{1BF2A0F9-592B-F56A-A941-52F7A9A3A4FE}"/>
          </ac:grpSpMkLst>
        </pc:grpChg>
        <pc:cxnChg chg="mod">
          <ac:chgData name="Jiang Zhang" userId="dd687e3c-3fa3-49f4-89c7-abf04b10d670" providerId="ADAL" clId="{39A64896-AD1E-4C32-AA77-7D55ED32B2AD}" dt="2024-02-29T03:30:38.131" v="1100" actId="164"/>
          <ac:cxnSpMkLst>
            <pc:docMk/>
            <pc:sldMk cId="920196135" sldId="2147470901"/>
            <ac:cxnSpMk id="28" creationId="{0B9C0D7A-D73D-52EB-56BE-F4856384F962}"/>
          </ac:cxnSpMkLst>
        </pc:cxnChg>
        <pc:cxnChg chg="mod">
          <ac:chgData name="Jiang Zhang" userId="dd687e3c-3fa3-49f4-89c7-abf04b10d670" providerId="ADAL" clId="{39A64896-AD1E-4C32-AA77-7D55ED32B2AD}" dt="2024-02-29T03:25:06.048" v="831" actId="165"/>
          <ac:cxnSpMkLst>
            <pc:docMk/>
            <pc:sldMk cId="920196135" sldId="2147470901"/>
            <ac:cxnSpMk id="57" creationId="{5E679519-EA15-B57D-D8D1-DB38A82871BB}"/>
          </ac:cxnSpMkLst>
        </pc:cxnChg>
        <pc:cxnChg chg="mod">
          <ac:chgData name="Jiang Zhang" userId="dd687e3c-3fa3-49f4-89c7-abf04b10d670" providerId="ADAL" clId="{39A64896-AD1E-4C32-AA77-7D55ED32B2AD}" dt="2024-02-29T03:25:06.048" v="831" actId="165"/>
          <ac:cxnSpMkLst>
            <pc:docMk/>
            <pc:sldMk cId="920196135" sldId="2147470901"/>
            <ac:cxnSpMk id="58" creationId="{2E360228-E1DC-7398-4FEF-18474DEAB123}"/>
          </ac:cxnSpMkLst>
        </pc:cxnChg>
        <pc:cxnChg chg="mod">
          <ac:chgData name="Jiang Zhang" userId="dd687e3c-3fa3-49f4-89c7-abf04b10d670" providerId="ADAL" clId="{39A64896-AD1E-4C32-AA77-7D55ED32B2AD}" dt="2024-02-29T03:25:06.048" v="831" actId="165"/>
          <ac:cxnSpMkLst>
            <pc:docMk/>
            <pc:sldMk cId="920196135" sldId="2147470901"/>
            <ac:cxnSpMk id="88" creationId="{DBB7A55B-9BF5-4FF6-6310-B26FFB62FAFB}"/>
          </ac:cxnSpMkLst>
        </pc:cxnChg>
        <pc:cxnChg chg="mod">
          <ac:chgData name="Jiang Zhang" userId="dd687e3c-3fa3-49f4-89c7-abf04b10d670" providerId="ADAL" clId="{39A64896-AD1E-4C32-AA77-7D55ED32B2AD}" dt="2024-02-29T03:25:06.048" v="831" actId="165"/>
          <ac:cxnSpMkLst>
            <pc:docMk/>
            <pc:sldMk cId="920196135" sldId="2147470901"/>
            <ac:cxnSpMk id="89" creationId="{4678AD73-8981-504A-42B8-04EAE61F901A}"/>
          </ac:cxnSpMkLst>
        </pc:cxnChg>
      </pc:sldChg>
      <pc:sldChg chg="modSp mod ord">
        <pc:chgData name="Jiang Zhang" userId="dd687e3c-3fa3-49f4-89c7-abf04b10d670" providerId="ADAL" clId="{39A64896-AD1E-4C32-AA77-7D55ED32B2AD}" dt="2024-02-29T04:50:36.161" v="1503"/>
        <pc:sldMkLst>
          <pc:docMk/>
          <pc:sldMk cId="3687489382" sldId="2147470903"/>
        </pc:sldMkLst>
        <pc:spChg chg="mod">
          <ac:chgData name="Jiang Zhang" userId="dd687e3c-3fa3-49f4-89c7-abf04b10d670" providerId="ADAL" clId="{39A64896-AD1E-4C32-AA77-7D55ED32B2AD}" dt="2024-02-29T03:36:57.769" v="1183" actId="20577"/>
          <ac:spMkLst>
            <pc:docMk/>
            <pc:sldMk cId="3687489382" sldId="2147470903"/>
            <ac:spMk id="2" creationId="{BC8A4398-672D-B1B0-64C8-19EFDBF3A51E}"/>
          </ac:spMkLst>
        </pc:spChg>
        <pc:spChg chg="mod">
          <ac:chgData name="Jiang Zhang" userId="dd687e3c-3fa3-49f4-89c7-abf04b10d670" providerId="ADAL" clId="{39A64896-AD1E-4C32-AA77-7D55ED32B2AD}" dt="2024-02-29T04:46:48.337" v="1496" actId="14100"/>
          <ac:spMkLst>
            <pc:docMk/>
            <pc:sldMk cId="3687489382" sldId="2147470903"/>
            <ac:spMk id="3" creationId="{6A4652E5-8B5C-5A3B-54BB-803E932328E2}"/>
          </ac:spMkLst>
        </pc:spChg>
      </pc:sldChg>
      <pc:sldChg chg="addSp delSp modSp mod">
        <pc:chgData name="Jiang Zhang" userId="dd687e3c-3fa3-49f4-89c7-abf04b10d670" providerId="ADAL" clId="{39A64896-AD1E-4C32-AA77-7D55ED32B2AD}" dt="2024-02-29T08:55:12.140" v="2193" actId="20577"/>
        <pc:sldMkLst>
          <pc:docMk/>
          <pc:sldMk cId="1269845964" sldId="2147481465"/>
        </pc:sldMkLst>
        <pc:spChg chg="mod">
          <ac:chgData name="Jiang Zhang" userId="dd687e3c-3fa3-49f4-89c7-abf04b10d670" providerId="ADAL" clId="{39A64896-AD1E-4C32-AA77-7D55ED32B2AD}" dt="2024-02-29T08:55:12.140" v="2193" actId="20577"/>
          <ac:spMkLst>
            <pc:docMk/>
            <pc:sldMk cId="1269845964" sldId="2147481465"/>
            <ac:spMk id="3" creationId="{4585A020-783C-175A-0B09-0A1C069F445D}"/>
          </ac:spMkLst>
        </pc:spChg>
        <pc:picChg chg="add mod">
          <ac:chgData name="Jiang Zhang" userId="dd687e3c-3fa3-49f4-89c7-abf04b10d670" providerId="ADAL" clId="{39A64896-AD1E-4C32-AA77-7D55ED32B2AD}" dt="2024-02-29T05:03:12.329" v="1578" actId="14100"/>
          <ac:picMkLst>
            <pc:docMk/>
            <pc:sldMk cId="1269845964" sldId="2147481465"/>
            <ac:picMk id="4" creationId="{BC2335B4-F83B-3E30-B966-30D851DEF2DE}"/>
          </ac:picMkLst>
        </pc:picChg>
        <pc:picChg chg="mod">
          <ac:chgData name="Jiang Zhang" userId="dd687e3c-3fa3-49f4-89c7-abf04b10d670" providerId="ADAL" clId="{39A64896-AD1E-4C32-AA77-7D55ED32B2AD}" dt="2024-02-29T03:37:25.046" v="1219" actId="1036"/>
          <ac:picMkLst>
            <pc:docMk/>
            <pc:sldMk cId="1269845964" sldId="2147481465"/>
            <ac:picMk id="1026" creationId="{322E06D5-407D-230F-B4E6-0BFB7A2ED4DC}"/>
          </ac:picMkLst>
        </pc:picChg>
        <pc:picChg chg="del mod">
          <ac:chgData name="Jiang Zhang" userId="dd687e3c-3fa3-49f4-89c7-abf04b10d670" providerId="ADAL" clId="{39A64896-AD1E-4C32-AA77-7D55ED32B2AD}" dt="2024-02-29T05:02:52.747" v="1553" actId="478"/>
          <ac:picMkLst>
            <pc:docMk/>
            <pc:sldMk cId="1269845964" sldId="2147481465"/>
            <ac:picMk id="1028" creationId="{9674079D-B342-FEE9-76EB-E1F69B3F6E1F}"/>
          </ac:picMkLst>
        </pc:picChg>
      </pc:sldChg>
      <pc:sldChg chg="modSp mod">
        <pc:chgData name="Jiang Zhang" userId="dd687e3c-3fa3-49f4-89c7-abf04b10d670" providerId="ADAL" clId="{39A64896-AD1E-4C32-AA77-7D55ED32B2AD}" dt="2024-02-29T10:41:43.347" v="2930" actId="313"/>
        <pc:sldMkLst>
          <pc:docMk/>
          <pc:sldMk cId="37699174" sldId="2147481466"/>
        </pc:sldMkLst>
        <pc:spChg chg="mod">
          <ac:chgData name="Jiang Zhang" userId="dd687e3c-3fa3-49f4-89c7-abf04b10d670" providerId="ADAL" clId="{39A64896-AD1E-4C32-AA77-7D55ED32B2AD}" dt="2024-02-29T10:41:43.347" v="2930" actId="313"/>
          <ac:spMkLst>
            <pc:docMk/>
            <pc:sldMk cId="37699174" sldId="2147481466"/>
            <ac:spMk id="2" creationId="{24606721-7B3E-DC3A-E2A6-AF694371C1C0}"/>
          </ac:spMkLst>
        </pc:spChg>
        <pc:spChg chg="mod">
          <ac:chgData name="Jiang Zhang" userId="dd687e3c-3fa3-49f4-89c7-abf04b10d670" providerId="ADAL" clId="{39A64896-AD1E-4C32-AA77-7D55ED32B2AD}" dt="2024-02-29T08:55:29.769" v="2195" actId="20577"/>
          <ac:spMkLst>
            <pc:docMk/>
            <pc:sldMk cId="37699174" sldId="2147481466"/>
            <ac:spMk id="3" creationId="{D98029F9-6424-DC21-1B08-F615BFEF58CA}"/>
          </ac:spMkLst>
        </pc:spChg>
      </pc:sldChg>
      <pc:sldChg chg="del">
        <pc:chgData name="Jiang Zhang" userId="dd687e3c-3fa3-49f4-89c7-abf04b10d670" providerId="ADAL" clId="{39A64896-AD1E-4C32-AA77-7D55ED32B2AD}" dt="2024-02-28T10:43:26.734" v="3" actId="47"/>
        <pc:sldMkLst>
          <pc:docMk/>
          <pc:sldMk cId="2709852984" sldId="2147481467"/>
        </pc:sldMkLst>
      </pc:sldChg>
      <pc:sldChg chg="modSp mod">
        <pc:chgData name="Jiang Zhang" userId="dd687e3c-3fa3-49f4-89c7-abf04b10d670" providerId="ADAL" clId="{39A64896-AD1E-4C32-AA77-7D55ED32B2AD}" dt="2024-02-29T09:58:49.933" v="2460"/>
        <pc:sldMkLst>
          <pc:docMk/>
          <pc:sldMk cId="0" sldId="2147481900"/>
        </pc:sldMkLst>
        <pc:graphicFrameChg chg="mod modGraphic">
          <ac:chgData name="Jiang Zhang" userId="dd687e3c-3fa3-49f4-89c7-abf04b10d670" providerId="ADAL" clId="{39A64896-AD1E-4C32-AA77-7D55ED32B2AD}" dt="2024-02-29T09:58:49.933" v="2460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  <pc:sldChg chg="mod ord modShow">
        <pc:chgData name="Jiang Zhang" userId="dd687e3c-3fa3-49f4-89c7-abf04b10d670" providerId="ADAL" clId="{39A64896-AD1E-4C32-AA77-7D55ED32B2AD}" dt="2024-02-28T10:29:57.789" v="2"/>
        <pc:sldMkLst>
          <pc:docMk/>
          <pc:sldMk cId="0" sldId="2147481943"/>
        </pc:sldMkLst>
      </pc:sldChg>
      <pc:sldChg chg="modSp mod">
        <pc:chgData name="Jiang Zhang" userId="dd687e3c-3fa3-49f4-89c7-abf04b10d670" providerId="ADAL" clId="{39A64896-AD1E-4C32-AA77-7D55ED32B2AD}" dt="2024-02-29T06:46:34.251" v="2056" actId="20577"/>
        <pc:sldMkLst>
          <pc:docMk/>
          <pc:sldMk cId="0" sldId="2147481945"/>
        </pc:sldMkLst>
        <pc:graphicFrameChg chg="mod modGraphic">
          <ac:chgData name="Jiang Zhang" userId="dd687e3c-3fa3-49f4-89c7-abf04b10d670" providerId="ADAL" clId="{39A64896-AD1E-4C32-AA77-7D55ED32B2AD}" dt="2024-02-29T06:46:34.251" v="2056" actId="20577"/>
          <ac:graphicFrameMkLst>
            <pc:docMk/>
            <pc:sldMk cId="0" sldId="2147481945"/>
            <ac:graphicFrameMk id="4" creationId="{5C6EFBCF-5065-336E-8C64-7D594609B66E}"/>
          </ac:graphicFrameMkLst>
        </pc:graphicFrameChg>
      </pc:sldChg>
      <pc:sldChg chg="modSp mod">
        <pc:chgData name="Jiang Zhang" userId="dd687e3c-3fa3-49f4-89c7-abf04b10d670" providerId="ADAL" clId="{39A64896-AD1E-4C32-AA77-7D55ED32B2AD}" dt="2024-02-29T09:58:07.471" v="2459" actId="20577"/>
        <pc:sldMkLst>
          <pc:docMk/>
          <pc:sldMk cId="193087337" sldId="2147481957"/>
        </pc:sldMkLst>
        <pc:spChg chg="mod">
          <ac:chgData name="Jiang Zhang" userId="dd687e3c-3fa3-49f4-89c7-abf04b10d670" providerId="ADAL" clId="{39A64896-AD1E-4C32-AA77-7D55ED32B2AD}" dt="2024-02-29T09:58:07.471" v="2459" actId="20577"/>
          <ac:spMkLst>
            <pc:docMk/>
            <pc:sldMk cId="193087337" sldId="2147481957"/>
            <ac:spMk id="2" creationId="{952A8B94-43B9-3CF8-F629-77B639881624}"/>
          </ac:spMkLst>
        </pc:spChg>
        <pc:spChg chg="mod">
          <ac:chgData name="Jiang Zhang" userId="dd687e3c-3fa3-49f4-89c7-abf04b10d670" providerId="ADAL" clId="{39A64896-AD1E-4C32-AA77-7D55ED32B2AD}" dt="2024-02-29T03:13:08.752" v="545" actId="20577"/>
          <ac:spMkLst>
            <pc:docMk/>
            <pc:sldMk cId="193087337" sldId="2147481957"/>
            <ac:spMk id="3" creationId="{E2A6CA75-B2BA-9F49-8AA1-2098F097A076}"/>
          </ac:spMkLst>
        </pc:spChg>
      </pc:sldChg>
    </pc:docChg>
  </pc:docChgLst>
  <pc:docChgLst>
    <pc:chgData name="Gary Liu" userId="S::gary.liu4@gilead.com::9a0e5e6a-910d-49c7-beb8-5f8afb82ea1a" providerId="AD" clId="Web-{CC73C187-7D75-CDC5-5236-4DFE88E8A909}"/>
    <pc:docChg chg="modSld">
      <pc:chgData name="Gary Liu" userId="S::gary.liu4@gilead.com::9a0e5e6a-910d-49c7-beb8-5f8afb82ea1a" providerId="AD" clId="Web-{CC73C187-7D75-CDC5-5236-4DFE88E8A909}" dt="2024-03-01T02:01:21.951" v="277"/>
      <pc:docMkLst>
        <pc:docMk/>
      </pc:docMkLst>
      <pc:sldChg chg="modSp">
        <pc:chgData name="Gary Liu" userId="S::gary.liu4@gilead.com::9a0e5e6a-910d-49c7-beb8-5f8afb82ea1a" providerId="AD" clId="Web-{CC73C187-7D75-CDC5-5236-4DFE88E8A909}" dt="2024-03-01T02:01:21.951" v="277"/>
        <pc:sldMkLst>
          <pc:docMk/>
          <pc:sldMk cId="0" sldId="2147481900"/>
        </pc:sldMkLst>
        <pc:graphicFrameChg chg="mod modGraphic">
          <ac:chgData name="Gary Liu" userId="S::gary.liu4@gilead.com::9a0e5e6a-910d-49c7-beb8-5f8afb82ea1a" providerId="AD" clId="Web-{CC73C187-7D75-CDC5-5236-4DFE88E8A909}" dt="2024-03-01T02:01:21.951" v="277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</pc:docChg>
  </pc:docChgLst>
  <pc:docChgLst>
    <pc:chgData name="Lianquan Qi" userId="44a87237-d90e-46d7-82ee-51c628a857b8" providerId="ADAL" clId="{4804B61B-9D3F-4A41-AA40-6DCB18523D71}"/>
    <pc:docChg chg="undo custSel modSld">
      <pc:chgData name="Lianquan Qi" userId="44a87237-d90e-46d7-82ee-51c628a857b8" providerId="ADAL" clId="{4804B61B-9D3F-4A41-AA40-6DCB18523D71}" dt="2024-02-29T02:46:52.035" v="1323" actId="20577"/>
      <pc:docMkLst>
        <pc:docMk/>
      </pc:docMkLst>
      <pc:sldChg chg="modSp mod">
        <pc:chgData name="Lianquan Qi" userId="44a87237-d90e-46d7-82ee-51c628a857b8" providerId="ADAL" clId="{4804B61B-9D3F-4A41-AA40-6DCB18523D71}" dt="2024-02-29T02:46:52.035" v="1323" actId="20577"/>
        <pc:sldMkLst>
          <pc:docMk/>
          <pc:sldMk cId="0" sldId="2147481900"/>
        </pc:sldMkLst>
        <pc:graphicFrameChg chg="mod modGraphic">
          <ac:chgData name="Lianquan Qi" userId="44a87237-d90e-46d7-82ee-51c628a857b8" providerId="ADAL" clId="{4804B61B-9D3F-4A41-AA40-6DCB18523D71}" dt="2024-02-29T02:46:52.035" v="1323" actId="20577"/>
          <ac:graphicFrameMkLst>
            <pc:docMk/>
            <pc:sldMk cId="0" sldId="2147481900"/>
            <ac:graphicFrameMk id="15" creationId="{5BCD0CE3-920E-25D9-17A0-398082E73473}"/>
          </ac:graphicFrameMkLst>
        </pc:graphicFrameChg>
      </pc:sldChg>
      <pc:sldChg chg="modSp mod">
        <pc:chgData name="Lianquan Qi" userId="44a87237-d90e-46d7-82ee-51c628a857b8" providerId="ADAL" clId="{4804B61B-9D3F-4A41-AA40-6DCB18523D71}" dt="2024-02-29T02:44:56.419" v="1102" actId="20577"/>
        <pc:sldMkLst>
          <pc:docMk/>
          <pc:sldMk cId="0" sldId="2147481945"/>
        </pc:sldMkLst>
        <pc:graphicFrameChg chg="mod modGraphic">
          <ac:chgData name="Lianquan Qi" userId="44a87237-d90e-46d7-82ee-51c628a857b8" providerId="ADAL" clId="{4804B61B-9D3F-4A41-AA40-6DCB18523D71}" dt="2024-02-29T02:44:56.419" v="1102" actId="20577"/>
          <ac:graphicFrameMkLst>
            <pc:docMk/>
            <pc:sldMk cId="0" sldId="2147481945"/>
            <ac:graphicFrameMk id="4" creationId="{5C6EFBCF-5065-336E-8C64-7D594609B66E}"/>
          </ac:graphicFrameMkLst>
        </pc:graphicFrameChg>
      </pc:sldChg>
      <pc:sldChg chg="addSp modSp mod">
        <pc:chgData name="Lianquan Qi" userId="44a87237-d90e-46d7-82ee-51c628a857b8" providerId="ADAL" clId="{4804B61B-9D3F-4A41-AA40-6DCB18523D71}" dt="2024-02-29T02:43:21.183" v="1058" actId="20577"/>
        <pc:sldMkLst>
          <pc:docMk/>
          <pc:sldMk cId="2094902050" sldId="2147481952"/>
        </pc:sldMkLst>
        <pc:spChg chg="add mod">
          <ac:chgData name="Lianquan Qi" userId="44a87237-d90e-46d7-82ee-51c628a857b8" providerId="ADAL" clId="{4804B61B-9D3F-4A41-AA40-6DCB18523D71}" dt="2024-02-29T02:43:21.183" v="1058" actId="20577"/>
          <ac:spMkLst>
            <pc:docMk/>
            <pc:sldMk cId="2094902050" sldId="2147481952"/>
            <ac:spMk id="4" creationId="{317BB85A-B9F6-1324-4814-9FA3FB97623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AA2D6523-3A0A-5423-8651-70A462076E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0911964-C5A1-8892-044A-3B385155B72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6EA38222-1B1D-4E28-A7B8-3E8EB6B5BFF4}" type="datetimeFigureOut">
              <a:rPr lang="zh-CN" altLang="en-US"/>
              <a:pPr>
                <a:defRPr/>
              </a:pPr>
              <a:t>2024/7/25</a:t>
            </a:fld>
            <a:endParaRPr lang="zh-CN" altLang="en-US"/>
          </a:p>
        </p:txBody>
      </p:sp>
      <p:sp>
        <p:nvSpPr>
          <p:cNvPr id="4" name="幻灯片图像占位符 3">
            <a:extLst>
              <a:ext uri="{FF2B5EF4-FFF2-40B4-BE49-F238E27FC236}">
                <a16:creationId xmlns:a16="http://schemas.microsoft.com/office/drawing/2014/main" id="{FD4CACB9-A31D-013A-F884-E41DA20DFF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>
            <a:extLst>
              <a:ext uri="{FF2B5EF4-FFF2-40B4-BE49-F238E27FC236}">
                <a16:creationId xmlns:a16="http://schemas.microsoft.com/office/drawing/2014/main" id="{E0A09B05-FA7B-51CD-3C7B-08A09E5289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51D2DA7-4BD9-F4A8-7875-A7CE4B6461A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2F6F498-1160-4DAA-7589-EAFE0A74B8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41D9DC31-6033-46B4-85A5-84BE77ED41FE}" type="slidenum">
              <a:rPr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zh-CN"/>
              <a:t>China join global AFFIRM study to generate PK, efficacy and safety data in Chinese population</a:t>
            </a:r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/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/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zh-CN"/>
              <a:t>China alone single arm study to show consistent trend in China population with global population</a:t>
            </a:r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/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altLang="zh-CN"/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zh-CN"/>
              <a:t>Other scenarios based on CDE’s feedback</a:t>
            </a:r>
          </a:p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D9DC31-6033-46B4-85A5-84BE77ED41FE}" type="slidenum">
              <a:rPr lang="en-US" altLang="zh-CN" smtClean="0"/>
              <a:pPr>
                <a:defRPr/>
              </a:pPr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3102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FB0DF4BA-A37F-60A7-B6F7-671F9F7147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CE79F0CB-2A3F-DA0D-A79C-E5BB97C28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7B14C82-5A8C-FE9A-9123-F891624199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397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15E08A18-24B0-C80F-E9AC-AF926879F9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8">
            <a:extLst>
              <a:ext uri="{FF2B5EF4-FFF2-40B4-BE49-F238E27FC236}">
                <a16:creationId xmlns:a16="http://schemas.microsoft.com/office/drawing/2014/main" id="{4ADC5122-42FA-9FF2-3379-A70AF5E7879A}"/>
              </a:ext>
            </a:extLst>
          </p:cNvPr>
          <p:cNvCxnSpPr>
            <a:cxnSpLocks/>
          </p:cNvCxnSpPr>
          <p:nvPr userDrawn="1"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E7125BF-AB57-6011-268B-ED7054E244B1}"/>
              </a:ext>
            </a:extLst>
          </p:cNvPr>
          <p:cNvSpPr txBox="1">
            <a:spLocks/>
          </p:cNvSpPr>
          <p:nvPr userDrawn="1"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406140" cy="4351338"/>
          </a:xfrm>
        </p:spPr>
        <p:txBody>
          <a:bodyPr anchor="ctr"/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01ECD7A-4A15-6114-3410-FCEE00F0231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B686B4-A4D7-4CB0-8A93-88A0E00203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4388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608CFAF0-10B1-5F60-4FDE-DB90EF0199A2}"/>
              </a:ext>
            </a:extLst>
          </p:cNvPr>
          <p:cNvSpPr txBox="1">
            <a:spLocks/>
          </p:cNvSpPr>
          <p:nvPr userDrawn="1"/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>
                    <a:lumMod val="40000"/>
                    <a:lumOff val="60000"/>
                  </a:schemeClr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88266D1-B4C0-42F6-A424-5D83CF4F31C2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3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68BEF4E2-C306-446C-F179-A3E5728B2A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19087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96446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8082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271952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- Ad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EAC16707-7717-3E78-F2E2-9E7421572E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12190" y="-48768"/>
            <a:ext cx="12216446" cy="6894576"/>
          </a:xfrm>
          <a:custGeom>
            <a:avLst/>
            <a:gdLst>
              <a:gd name="connsiteX0" fmla="*/ 0 w 12191998"/>
              <a:gd name="connsiteY0" fmla="*/ 0 h 6858000"/>
              <a:gd name="connsiteX1" fmla="*/ 11048975 w 12191998"/>
              <a:gd name="connsiteY1" fmla="*/ 0 h 6858000"/>
              <a:gd name="connsiteX2" fmla="*/ 12191998 w 12191998"/>
              <a:gd name="connsiteY2" fmla="*/ 1143023 h 6858000"/>
              <a:gd name="connsiteX3" fmla="*/ 12191998 w 12191998"/>
              <a:gd name="connsiteY3" fmla="*/ 6858000 h 6858000"/>
              <a:gd name="connsiteX4" fmla="*/ 0 w 12191998"/>
              <a:gd name="connsiteY4" fmla="*/ 6858000 h 6858000"/>
              <a:gd name="connsiteX5" fmla="*/ 0 w 12191998"/>
              <a:gd name="connsiteY5" fmla="*/ 0 h 6858000"/>
              <a:gd name="connsiteX0" fmla="*/ 0 w 12195023"/>
              <a:gd name="connsiteY0" fmla="*/ 12192 h 6870192"/>
              <a:gd name="connsiteX1" fmla="*/ 12195023 w 12195023"/>
              <a:gd name="connsiteY1" fmla="*/ 0 h 6870192"/>
              <a:gd name="connsiteX2" fmla="*/ 12191998 w 12195023"/>
              <a:gd name="connsiteY2" fmla="*/ 1155215 h 6870192"/>
              <a:gd name="connsiteX3" fmla="*/ 12191998 w 12195023"/>
              <a:gd name="connsiteY3" fmla="*/ 6870192 h 6870192"/>
              <a:gd name="connsiteX4" fmla="*/ 0 w 12195023"/>
              <a:gd name="connsiteY4" fmla="*/ 6870192 h 6870192"/>
              <a:gd name="connsiteX5" fmla="*/ 0 w 12195023"/>
              <a:gd name="connsiteY5" fmla="*/ 12192 h 6870192"/>
              <a:gd name="connsiteX0" fmla="*/ 0 w 12195023"/>
              <a:gd name="connsiteY0" fmla="*/ 12192 h 6870192"/>
              <a:gd name="connsiteX1" fmla="*/ 12195023 w 12195023"/>
              <a:gd name="connsiteY1" fmla="*/ 0 h 6870192"/>
              <a:gd name="connsiteX2" fmla="*/ 12191998 w 12195023"/>
              <a:gd name="connsiteY2" fmla="*/ 1155215 h 6870192"/>
              <a:gd name="connsiteX3" fmla="*/ 5974078 w 12195023"/>
              <a:gd name="connsiteY3" fmla="*/ 6870192 h 6870192"/>
              <a:gd name="connsiteX4" fmla="*/ 0 w 12195023"/>
              <a:gd name="connsiteY4" fmla="*/ 6870192 h 6870192"/>
              <a:gd name="connsiteX5" fmla="*/ 0 w 12195023"/>
              <a:gd name="connsiteY5" fmla="*/ 12192 h 6870192"/>
              <a:gd name="connsiteX0" fmla="*/ 0 w 12204254"/>
              <a:gd name="connsiteY0" fmla="*/ 12192 h 6870192"/>
              <a:gd name="connsiteX1" fmla="*/ 12195023 w 12204254"/>
              <a:gd name="connsiteY1" fmla="*/ 0 h 6870192"/>
              <a:gd name="connsiteX2" fmla="*/ 12204190 w 12204254"/>
              <a:gd name="connsiteY2" fmla="*/ 5702831 h 6870192"/>
              <a:gd name="connsiteX3" fmla="*/ 5974078 w 12204254"/>
              <a:gd name="connsiteY3" fmla="*/ 6870192 h 6870192"/>
              <a:gd name="connsiteX4" fmla="*/ 0 w 12204254"/>
              <a:gd name="connsiteY4" fmla="*/ 6870192 h 6870192"/>
              <a:gd name="connsiteX5" fmla="*/ 0 w 12204254"/>
              <a:gd name="connsiteY5" fmla="*/ 12192 h 6870192"/>
              <a:gd name="connsiteX0" fmla="*/ 0 w 12204254"/>
              <a:gd name="connsiteY0" fmla="*/ 12192 h 6894576"/>
              <a:gd name="connsiteX1" fmla="*/ 12195023 w 12204254"/>
              <a:gd name="connsiteY1" fmla="*/ 0 h 6894576"/>
              <a:gd name="connsiteX2" fmla="*/ 12204190 w 12204254"/>
              <a:gd name="connsiteY2" fmla="*/ 5702831 h 6894576"/>
              <a:gd name="connsiteX3" fmla="*/ 3572254 w 12204254"/>
              <a:gd name="connsiteY3" fmla="*/ 6894576 h 6894576"/>
              <a:gd name="connsiteX4" fmla="*/ 0 w 12204254"/>
              <a:gd name="connsiteY4" fmla="*/ 6870192 h 6894576"/>
              <a:gd name="connsiteX5" fmla="*/ 0 w 12204254"/>
              <a:gd name="connsiteY5" fmla="*/ 12192 h 6894576"/>
              <a:gd name="connsiteX0" fmla="*/ 12192 w 12216446"/>
              <a:gd name="connsiteY0" fmla="*/ 12192 h 6894576"/>
              <a:gd name="connsiteX1" fmla="*/ 12207215 w 12216446"/>
              <a:gd name="connsiteY1" fmla="*/ 0 h 6894576"/>
              <a:gd name="connsiteX2" fmla="*/ 12216382 w 12216446"/>
              <a:gd name="connsiteY2" fmla="*/ 5702831 h 6894576"/>
              <a:gd name="connsiteX3" fmla="*/ 3584446 w 12216446"/>
              <a:gd name="connsiteY3" fmla="*/ 6894576 h 6894576"/>
              <a:gd name="connsiteX4" fmla="*/ 0 w 12216446"/>
              <a:gd name="connsiteY4" fmla="*/ 5724144 h 6894576"/>
              <a:gd name="connsiteX5" fmla="*/ 12192 w 12216446"/>
              <a:gd name="connsiteY5" fmla="*/ 12192 h 6894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6446" h="6894576">
                <a:moveTo>
                  <a:pt x="12192" y="12192"/>
                </a:moveTo>
                <a:lnTo>
                  <a:pt x="12207215" y="0"/>
                </a:lnTo>
                <a:cubicBezTo>
                  <a:pt x="12206207" y="385072"/>
                  <a:pt x="12217390" y="5317759"/>
                  <a:pt x="12216382" y="5702831"/>
                </a:cubicBezTo>
                <a:lnTo>
                  <a:pt x="3584446" y="6894576"/>
                </a:lnTo>
                <a:lnTo>
                  <a:pt x="0" y="5724144"/>
                </a:lnTo>
                <a:lnTo>
                  <a:pt x="12192" y="12192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4A836C0-CF9A-F2E0-93BC-3DE583291A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A1C9549-01FB-412A-B7C7-5224FC7E3F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815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4215B-901B-4868-3684-1847E2C24C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5D2E1-C994-D932-8122-AB75C89C2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7CA8EA-3A12-420D-4B23-F0CAD02C7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79F3AB-FF0E-4D74-A1B4-C8A3BE06F2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8835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673CBF36-7669-BEE8-C0A3-326D6A089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418DF5AA-72D9-3FC6-641F-C8AFC5F8F6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024BF3A-7B59-7F39-8A0E-913F27F552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234F4AC-F19E-4E10-81D2-8002313831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5101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E116C-7CAA-9FED-88EA-3772681578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35A74AA9-1A5A-40AE-B145-EB9F25D1D030}" type="datetimeFigureOut">
              <a:rPr lang="en-US"/>
              <a:pPr>
                <a:defRPr/>
              </a:pPr>
              <a:t>7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871660-CE2B-E48B-2E78-6145D822F7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905C7C-7FA2-A14E-CDD8-1F6380EB2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E6A020-3F6C-47DF-882D-683C948133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951586"/>
      </p:ext>
    </p:extLst>
  </p:cSld>
  <p:clrMapOvr>
    <a:masterClrMapping/>
  </p:clrMapOvr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C161A190-4AEB-E1C8-A321-5E7B1DB001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B208C3D-254E-3C50-B90A-7D9A89B02588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 anchor="t"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20E140C-0B4D-F512-B9C8-D468981932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850" y="6400800"/>
            <a:ext cx="2743200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9CC1305-31BA-41D8-ACE1-6C624699B5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3575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A0733993-C3FA-4758-01B8-D9A5545A58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96D1C833-ABD1-DBC4-7465-0FBFDA9773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9BB854-20E8-385E-7159-7EFC4810FB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039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64C841-C084-3A95-B2D7-542CE4AF215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C3F3BDB4-215A-929A-FF02-5D483CBFBB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DBFA41F-9A0A-7B95-9A6A-8D8014E0CC1A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1" y="1189899"/>
            <a:ext cx="5169520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0"/>
          </p:nvPr>
        </p:nvSpPr>
        <p:spPr>
          <a:xfrm>
            <a:off x="6531428" y="1189899"/>
            <a:ext cx="505335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7B58A-4416-0983-082B-083FC3A6CD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EF9CF53D-979C-41BF-839B-48E3459D1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7674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4E4895F4-6658-D252-A6F3-F97EC004FC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8C51B9B3-E055-5529-89A1-172FCBAAA3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B1BD3B-5C37-2687-EB4C-06E1977603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21090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611C6624-0F3D-D48C-665C-482BE005CE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BB2AE663-02D5-7DD4-3F6F-63B70D6AF6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B8BBFC-D2C9-E3E9-61A1-FB0690AF983B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17069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FAE24683-D063-B176-F563-8BC8244422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BFAB31F7-7D0E-B86B-8583-3CED896658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A34BDB1-F977-6535-CAC2-FD7004B2C8CC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3550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80619756-FD20-18A4-A151-F637251A2C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119D28A-C72D-598E-4BEF-65C6E1DAA4BD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4527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A12C538B-1FF7-751D-30D3-574F78F08F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9B20D91-17B2-60E3-C036-300205CD74AE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4880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C247DECE-838D-5D01-EB11-4B8C6F616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0034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110249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83EB77FE-B097-9EE2-7A18-585DA7FF8607}"/>
              </a:ext>
            </a:extLst>
          </p:cNvPr>
          <p:cNvSpPr/>
          <p:nvPr userDrawn="1"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C7022707-1383-7696-81DD-0F9276CA2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B230FA8-3A7C-C154-95F5-66AF55EF7201}"/>
              </a:ext>
            </a:extLst>
          </p:cNvPr>
          <p:cNvSpPr txBox="1">
            <a:spLocks/>
          </p:cNvSpPr>
          <p:nvPr userDrawn="1"/>
        </p:nvSpPr>
        <p:spPr>
          <a:xfrm>
            <a:off x="4606925" y="6400800"/>
            <a:ext cx="2836863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29044172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BFDEFE69-26C7-8899-2B8D-2FA0B72095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8">
            <a:extLst>
              <a:ext uri="{FF2B5EF4-FFF2-40B4-BE49-F238E27FC236}">
                <a16:creationId xmlns:a16="http://schemas.microsoft.com/office/drawing/2014/main" id="{BD980C18-304F-9D2D-CAE0-4199B67EFCEB}"/>
              </a:ext>
            </a:extLst>
          </p:cNvPr>
          <p:cNvCxnSpPr>
            <a:cxnSpLocks/>
          </p:cNvCxnSpPr>
          <p:nvPr userDrawn="1"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2DF1F85-4CB4-5F98-8497-00367D6778F3}"/>
              </a:ext>
            </a:extLst>
          </p:cNvPr>
          <p:cNvSpPr txBox="1">
            <a:spLocks/>
          </p:cNvSpPr>
          <p:nvPr userDrawn="1"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406140" cy="4351338"/>
          </a:xfrm>
        </p:spPr>
        <p:txBody>
          <a:bodyPr anchor="ctr"/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BEA5D08B-BC80-4CF3-EBE6-73957900BE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5334EC-7694-4CF2-B749-E574328CD9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965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B7F565-E6D9-E0DF-65D5-DCCBE45C92C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236E50FA-452F-0EEC-50A6-583520292D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6B32B6-8536-B2BC-1838-C9BE34E49B79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1" y="1189899"/>
            <a:ext cx="5169520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0"/>
          </p:nvPr>
        </p:nvSpPr>
        <p:spPr>
          <a:xfrm>
            <a:off x="6531428" y="1189899"/>
            <a:ext cx="505335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B3764-7120-89E7-B980-7A3B0DC64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C64B63B-5527-412F-A185-9B2BD4CE18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587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9CE43C7-7463-037D-4351-307972D1FEE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F7EC4857-98F4-F8A2-2B13-E3BBAED5DC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9B3CB44-89B8-E3B5-5475-BBD204A8AE93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/>
          </p:nvPr>
        </p:nvSpPr>
        <p:spPr>
          <a:xfrm>
            <a:off x="6531428" y="1189899"/>
            <a:ext cx="514176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6E5935-2B4B-CEB0-E524-B0B0B72BAA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E03AD6FE-8774-4E9F-AD59-87EA995C65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6698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928157E-CF03-8435-260C-BB6C7FDACB9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758CC9B3-3716-90B5-8F3C-5923380D60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17559F7-C7BA-5575-D7DD-1CBF9E0602A0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/>
          </p:nvPr>
        </p:nvSpPr>
        <p:spPr>
          <a:xfrm>
            <a:off x="6531428" y="1189899"/>
            <a:ext cx="514176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759788-4E9C-41BA-30D1-6D38E28E32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356EDAFC-455E-4568-AF2F-010B841167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7645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C86303-A787-6B5F-E128-C761CA6C438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C26547C-75D5-FE7C-C495-5B802689BC6B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14716292-764D-CE02-A3BF-34082AAB08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0350" y="6408738"/>
            <a:ext cx="2063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531429" y="1189899"/>
            <a:ext cx="514176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930AC3-1321-A7F1-7EAF-DCDDB6B8D7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6F9F62E-BDE3-4C6E-AD95-878BBFCD1D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4662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690313C5-2A59-1A4A-D89A-EA9B964A15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5FCD98C-A7AD-6D3E-C151-2EE9DB20412E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103674B-B564-ADD8-A8D1-AFC805E237B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6566F72-6D27-4F27-9053-96E15C2F79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2482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3487F1CF-54EE-A8AE-16AC-3344D50A6F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87735FD-553B-FF61-6352-E73AF3E89EFD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AD7F4E5-7752-C6A3-1316-29F5F555582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F102FB7-D812-4AA7-B9BD-EC776060DA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22016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574CF891-897F-04FE-3771-3F842F047E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DA80DE3-0CA9-D75A-1357-221169606029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4D51AD6-AEFA-6C3E-DD86-A54941E2AF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D2CE82F-945E-483C-B5E5-8586D60010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660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C7BEAFC-5D84-34F2-9622-C55946F913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38CC0C1-2C38-6C44-1CC0-DE456602FFFB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4B9C6EC-BFD4-0715-FE06-556EBE25393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B6627F7-5B3D-4669-8357-B14DD7035F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9830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4B1C31E5-2B63-19F7-6FBF-5237CCC6EE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1A71DE4-01D3-AA4A-2D90-2394C72354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AB98543B-60EA-4CFE-84FE-7814487479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0675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63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07853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8842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D2815D-3B27-C6FC-A021-097E87FA655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48CC52D-97AD-4202-80ED-FCF0A9CDA88B}"/>
              </a:ext>
            </a:extLst>
          </p:cNvPr>
          <p:cNvSpPr txBox="1">
            <a:spLocks/>
          </p:cNvSpPr>
          <p:nvPr userDrawn="1"/>
        </p:nvSpPr>
        <p:spPr>
          <a:xfrm>
            <a:off x="7804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D520240A-26DE-EA2E-0917-E164A40276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0350" y="6408738"/>
            <a:ext cx="2063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531429" y="1189899"/>
            <a:ext cx="514176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C8236-1DDB-F6AC-4B67-023EA72933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307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5A511B3-7B71-4846-B4BF-D40D87A879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44945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94320"/>
      </p:ext>
    </p:extLst>
  </p:cSld>
  <p:clrMapOvr>
    <a:masterClrMapping/>
  </p:clrMapOvr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462814"/>
      </p:ext>
    </p:extLst>
  </p:cSld>
  <p:clrMapOvr>
    <a:masterClrMapping/>
  </p:clrMapOvr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76277906"/>
      </p:ext>
    </p:extLst>
  </p:cSld>
  <p:clrMapOvr>
    <a:masterClrMapping/>
  </p:clrMapOvr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60311148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84098354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65090530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890505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2992018"/>
      </p:ext>
    </p:extLst>
  </p:cSld>
  <p:clrMapOvr>
    <a:masterClrMapping/>
  </p:clrMapOvr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3DFC8C-8A02-4C14-8735-CE5C17194A95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6ED49E-44B3-42C6-9EC3-4D0306DBDC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3308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99681384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A96814D0-130A-E4CE-5FB2-18C785E401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7523CA4-8687-33DB-9F6D-BC2315D42088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7815704-FBA4-CB7E-4C8D-7AC86721A34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850" y="6400800"/>
            <a:ext cx="2743200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EB37E2C-6100-4613-864C-5B4E99A150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31249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CB21A9-3AEC-48C1-9B63-2670B9FC421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EAE1F76-FBAD-4619-9474-9A7804A34054}"/>
              </a:ext>
            </a:extLst>
          </p:cNvPr>
          <p:cNvSpPr txBox="1">
            <a:spLocks/>
          </p:cNvSpPr>
          <p:nvPr userDrawn="1"/>
        </p:nvSpPr>
        <p:spPr>
          <a:xfrm>
            <a:off x="635616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0FCB42-A8AF-486B-9700-8C21006C8C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778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64003069"/>
      </p:ext>
    </p:extLst>
  </p:cSld>
  <p:clrMapOvr>
    <a:masterClrMapping/>
  </p:clrMapOvr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994698"/>
      </p:ext>
    </p:extLst>
  </p:cSld>
  <p:clrMapOvr>
    <a:masterClrMapping/>
  </p:clrMapOvr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67764477"/>
      </p:ext>
    </p:extLst>
  </p:cSld>
  <p:clrMapOvr>
    <a:masterClrMapping/>
  </p:clrMapOvr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1451874"/>
      </p:ext>
    </p:extLst>
  </p:cSld>
  <p:clrMapOvr>
    <a:masterClrMapping/>
  </p:clrMapOvr>
  <p:hf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56329065"/>
      </p:ext>
    </p:extLst>
  </p:cSld>
  <p:clrMapOvr>
    <a:masterClrMapping/>
  </p:clrMapOvr>
  <p:hf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63512119"/>
      </p:ext>
    </p:extLst>
  </p:cSld>
  <p:clrMapOvr>
    <a:masterClrMapping/>
  </p:clrMapOvr>
  <p:hf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21394"/>
      </p:ext>
    </p:extLst>
  </p:cSld>
  <p:clrMapOvr>
    <a:masterClrMapping/>
  </p:clrMapOvr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294021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39183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A0952393-10EA-BC15-C701-7FB5F05F5A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45F418-F399-98CF-7D10-0083AD17C787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 anchor="t"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D375274-089E-F0B7-A535-B4ABC97E4D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850" y="6400800"/>
            <a:ext cx="2743200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8AEEBB8-3B09-4B14-9D3E-A543C94C41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12683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6944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2179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61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1BA7DE7-7087-46DD-8863-8070C10A0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015" y="6400799"/>
            <a:ext cx="2743200" cy="291492"/>
          </a:xfrm>
        </p:spPr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5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 anchor="t" anchorCtr="0"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70919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1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0954" y="1606705"/>
            <a:ext cx="10410092" cy="3691482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50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EDC97F-BA86-D24E-8A2F-B8960120E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72204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 anchor="t" anchorCtr="0"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4321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3469025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9948662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Lef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8601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Righ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34071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07806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A1851B-19A8-724D-ADB2-135B9A94EB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AE4CF18-1721-8C46-8422-7ED131F2A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00EED-1BDC-4543-A5C0-28870C93B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515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6051E95-B26B-834D-A433-2F502795B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6679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63955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A1851B-19A8-724D-ADB2-135B9A94EB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AE4CF18-1721-8C46-8422-7ED131F2A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91440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C29494-ED64-A24F-BE3A-FF8414A1E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515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265AF3-C38C-444D-8A95-8F9E93A88A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33657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600B550-4C5A-3347-BFB7-613C63E6BE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586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65775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70F43836-A1CB-2040-FD45-BBDB4BF117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44F451A-F7F7-AB63-C750-D1A25EBF45A1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3F78057-3D33-8C02-CF68-EC5EE230157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5F85525-8BE9-4DFA-B0BA-21180F46FA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5376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-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36895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lnSpc>
                <a:spcPct val="110000"/>
              </a:lnSpc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0398118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75826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635616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928343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0853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845485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11949" y="0"/>
            <a:ext cx="7380049" cy="6858000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0853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410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781455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 spc="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70676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Background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440911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1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7C6368F-27E2-4932-B151-D02A62EA5A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F074822-F1E8-4676-AB88-84043CBF1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18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2D8C0B03-8FCF-F951-4EA9-4F265EA646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DA12427-AEE0-E15A-0BBD-6E66E7526F6F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0C8E4A-B850-7A38-207F-4D078367CB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F86BF1E-E587-4C33-8FF4-8A00D48FBC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1641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57F06760-CBCB-E9AE-7144-494A2DB64F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F011606-43F3-C38B-9755-800B78422012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8044BD-FFB8-3450-837D-2A789C9955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E88E7937-E089-4521-BE5E-A7681A7931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228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D095513-B697-3BF6-2633-F32E7F6528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82B841-A31C-EF10-8125-1056B5F4EBE0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6FE6CA-972D-76B9-679C-50F52F44A0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A2B8E46-8AD8-493A-9914-E9214EC68B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830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2B4CD851-0F63-C041-51E9-73233861FE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9EDE3DDA-BC1B-E115-59DB-6BEC9240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A992E6-9DB5-A645-4DFC-C3A48DDA28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9769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E858986E-9586-FE8F-C4B6-4AF2BC6CB9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8360A37D-A862-573A-C52F-D7589C9780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88220199-1F88-41A5-9945-0CF8FDDB6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0259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7900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009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753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12366413-EA2F-695F-AF65-85C4B98FEB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AF3F6E5-186F-451C-EDFF-3A772D4FBA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14D9686D-8377-461A-9EF4-FC5DFA788D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27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AD836DC7-EFFA-8054-0702-FA1959F3857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4DA0249F-0001-7313-CC1B-F4C9F999F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6CD806-7E81-B171-BAC0-6160B6B7A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62590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id="{A948AE2B-B835-09A8-93F3-2346736CF05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198EC42-2EC5-C60C-4DD3-C323A38137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A0C6030-27DD-B588-4AE6-95B3F6540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638175"/>
            <a:ext cx="17938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58249"/>
            <a:ext cx="10058400" cy="2387600"/>
          </a:xfrm>
        </p:spPr>
        <p:txBody>
          <a:bodyPr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077886"/>
            <a:ext cx="10058400" cy="1655762"/>
          </a:xfr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241668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D5C01C4E-E584-F2CF-CFB9-105E0DCD7FA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1C616241-76ED-D774-F6AC-C94F0A4EF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D49707-37CA-EE72-45B4-FCE72E7367C4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269689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2232141E-8436-E705-924B-803A3A3C79E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CFC332A9-F1AC-454A-2360-202B0E9B10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7D4F1F0-0ED9-52A6-879C-111B4CA32899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71064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E3F3F277-B1B1-1222-448F-E1E1205AE17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0D9B6D3C-46C0-1CF7-E380-D74F16C236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62DF3F1-94D6-E480-9A4F-BA6DBA346695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7791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4498945B-7F8A-F7B6-F968-BD65CEC86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3C72058F-76F1-AC64-EAAA-373E48699A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95E4DAC-4298-856A-D4E7-7F73DC8F045D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7996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3558D031-5AAB-BDAC-4823-310FED05EB3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A81F000-B64D-4AC3-6106-5315082A6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8C3E04-E6EF-DA67-62C6-A67FFC51CC08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7B3BFEE8-7F2A-76A3-8660-913381F968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59D3A5-2C1C-EEFE-2D2F-1C949C475A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40A8C7-6F6F-72D6-FC60-C6E0A87AA99F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6095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96293A41-8189-E9FE-D6BF-8F870EDEA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BF39A10-4BD6-CF8E-70A4-8DF7055CA2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AA284-9F27-49A0-A38F-CD740F094F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687927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12040461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6EA25DB7-4478-F780-B19E-D208DD44D63E}"/>
              </a:ext>
            </a:extLst>
          </p:cNvPr>
          <p:cNvSpPr/>
          <p:nvPr/>
        </p:nvSpPr>
        <p:spPr>
          <a:xfrm>
            <a:off x="4249738" y="0"/>
            <a:ext cx="794226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AEFF6897-4807-6612-DC5B-339FA39FBFBE}"/>
              </a:ext>
            </a:extLst>
          </p:cNvPr>
          <p:cNvSpPr/>
          <p:nvPr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5EB4FC5C-6D08-A5D6-4D04-27F8A9D5B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D82EC-D286-419B-CD55-68066D5377C6}"/>
              </a:ext>
            </a:extLst>
          </p:cNvPr>
          <p:cNvSpPr txBox="1">
            <a:spLocks/>
          </p:cNvSpPr>
          <p:nvPr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321907BB-7134-2A05-D3FB-8ABD60E55EDD}"/>
              </a:ext>
            </a:extLst>
          </p:cNvPr>
          <p:cNvSpPr/>
          <p:nvPr userDrawn="1"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85A1F14D-5E92-A8D9-617D-13C0C80D70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9904560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">
            <a:extLst>
              <a:ext uri="{FF2B5EF4-FFF2-40B4-BE49-F238E27FC236}">
                <a16:creationId xmlns:a16="http://schemas.microsoft.com/office/drawing/2014/main" id="{870A7A8E-EA47-EA86-845A-B773226DC5C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77423F5F-9484-B01F-E03C-C54F4EA2C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8">
            <a:extLst>
              <a:ext uri="{FF2B5EF4-FFF2-40B4-BE49-F238E27FC236}">
                <a16:creationId xmlns:a16="http://schemas.microsoft.com/office/drawing/2014/main" id="{C33964CF-B78A-63FB-7D47-F769C3260523}"/>
              </a:ext>
            </a:extLst>
          </p:cNvPr>
          <p:cNvCxnSpPr>
            <a:cxnSpLocks/>
          </p:cNvCxnSpPr>
          <p:nvPr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3886E4-303F-8D60-96A5-CE584D78DCDF}"/>
              </a:ext>
            </a:extLst>
          </p:cNvPr>
          <p:cNvSpPr txBox="1">
            <a:spLocks/>
          </p:cNvSpPr>
          <p:nvPr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406140" cy="4351338"/>
          </a:xfrm>
        </p:spPr>
        <p:txBody>
          <a:bodyPr anchor="ctr"/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543E06-DDC7-6342-86F3-D331F93618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2E2EFB-594B-41A2-AF7B-CF58E58C1A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344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C96F2663-FF83-F8C5-3947-5B2510B5C3F5}"/>
              </a:ext>
            </a:extLst>
          </p:cNvPr>
          <p:cNvSpPr/>
          <p:nvPr/>
        </p:nvSpPr>
        <p:spPr>
          <a:xfrm>
            <a:off x="4249738" y="0"/>
            <a:ext cx="794226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10EFCA02-ABA2-6155-2AA5-9E2A80B0C72F}"/>
              </a:ext>
            </a:extLst>
          </p:cNvPr>
          <p:cNvSpPr/>
          <p:nvPr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4718CA2A-AA27-D390-36A5-048059684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16718F-A4E1-B829-061B-C66485EAE0B0}"/>
              </a:ext>
            </a:extLst>
          </p:cNvPr>
          <p:cNvSpPr txBox="1">
            <a:spLocks/>
          </p:cNvSpPr>
          <p:nvPr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330965979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FFF945F0-034B-C04E-9766-EACD973124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8">
            <a:extLst>
              <a:ext uri="{FF2B5EF4-FFF2-40B4-BE49-F238E27FC236}">
                <a16:creationId xmlns:a16="http://schemas.microsoft.com/office/drawing/2014/main" id="{D395B17E-B2E4-FA35-7823-C9AEC073D943}"/>
              </a:ext>
            </a:extLst>
          </p:cNvPr>
          <p:cNvCxnSpPr>
            <a:cxnSpLocks/>
          </p:cNvCxnSpPr>
          <p:nvPr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F45FE58-10CB-5D22-C4CF-F850F20CA165}"/>
              </a:ext>
            </a:extLst>
          </p:cNvPr>
          <p:cNvSpPr txBox="1">
            <a:spLocks/>
          </p:cNvSpPr>
          <p:nvPr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406140" cy="4351338"/>
          </a:xfrm>
        </p:spPr>
        <p:txBody>
          <a:bodyPr anchor="ctr"/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1EC3304C-7561-9762-12F6-845ED8DC95C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B4E8A-570B-407B-ABC0-7FC200E236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778047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6536C8D-C629-D208-38C4-9697259F7E8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8EF3D7B5-DBC9-6432-5C66-3CEDCE483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AD9FBF7-1E9C-9EEF-4F46-838F666E7767}"/>
              </a:ext>
            </a:extLst>
          </p:cNvPr>
          <p:cNvSpPr txBox="1">
            <a:spLocks/>
          </p:cNvSpPr>
          <p:nvPr/>
        </p:nvSpPr>
        <p:spPr>
          <a:xfrm>
            <a:off x="6615113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FDCC271F-018C-016B-AE30-5BFF8164501C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3D775F-B77A-907D-DB2B-5F11EB02ACB1}"/>
              </a:ext>
            </a:extLst>
          </p:cNvPr>
          <p:cNvSpPr txBox="1">
            <a:spLocks/>
          </p:cNvSpPr>
          <p:nvPr userDrawn="1"/>
        </p:nvSpPr>
        <p:spPr>
          <a:xfrm>
            <a:off x="63563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819983AC-5DF5-F105-B6D8-5648E14466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E436CCF-B649-970A-765C-626B5BC60E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1F56F052-AFF4-42FA-ACC5-F06BAD9CB2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3343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0C5384D-6903-F4A7-F1B1-875DC73E0E7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F9040C4D-3F5D-8D25-2FB8-F818858FA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DA16E-A27E-E118-4AA0-9F45331B1D2D}"/>
              </a:ext>
            </a:extLst>
          </p:cNvPr>
          <p:cNvSpPr txBox="1">
            <a:spLocks/>
          </p:cNvSpPr>
          <p:nvPr/>
        </p:nvSpPr>
        <p:spPr>
          <a:xfrm>
            <a:off x="6615113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81F86F-0632-E5D7-6702-34BD9A6A04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CFC9BE5-5DEC-4D10-ADAA-E5799072B2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83774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7B8F94E-BEC4-D906-67D8-F89D0EAEBDB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71504635-5184-7302-90BB-FBD13D266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107533A-A0E4-E603-0CD0-B5FC604B55DC}"/>
              </a:ext>
            </a:extLst>
          </p:cNvPr>
          <p:cNvSpPr txBox="1">
            <a:spLocks/>
          </p:cNvSpPr>
          <p:nvPr/>
        </p:nvSpPr>
        <p:spPr>
          <a:xfrm>
            <a:off x="6615113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36679-2460-ACC0-FEE4-5C29A87DFF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F929220-757C-47D6-AC89-E10821FAB9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67451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7E020A21-B062-AD37-673B-2004BF1D8F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838AE16B-B6D3-0B61-DA78-FA5DFBD9E8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F4800C-C45E-102D-8CBE-B097E16E1F7C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4662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3FD5E7C-1C90-1C3E-9C98-DA80E73E3E9A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F9E32EC-88B1-DBD8-7B7E-BCB4EC3FE54D}"/>
              </a:ext>
            </a:extLst>
          </p:cNvPr>
          <p:cNvSpPr txBox="1">
            <a:spLocks/>
          </p:cNvSpPr>
          <p:nvPr/>
        </p:nvSpPr>
        <p:spPr>
          <a:xfrm>
            <a:off x="1708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12A489F8-04C4-45F7-D58B-6EAB43CC7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350" y="6408738"/>
            <a:ext cx="2063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D52A4-AD14-2F27-DA2C-33119C6E5E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11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F941E60-5C13-4B88-8399-587A02F978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69224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id="{F2A60E51-53DC-4BE9-7D4E-4843ABE78CA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0AE982B6-6C43-A936-89E2-8D8A38A0D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CE0587D-A75A-A74A-E372-D469222D5F06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12CA67-FC23-0D8C-5F5E-905AD34597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EF3705E-C9B0-423D-9D56-F943C17A4F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28502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745E9954-824B-45FE-507E-057CBC6C3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E75EC5E-7FC4-F261-D65B-31E897FE59EB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B64DC6C-6945-1531-B242-DCF6AB703C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9726D56-CE93-4296-9966-9B0ABAA59A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872485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id="{D5B5F40B-2C8E-CAF0-465E-BCB50B13F54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A51ADFB0-1ABB-4106-0691-B7845D593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C5D0AB1-C2DC-8C17-121C-40A48A29B315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A864AE-4349-05DE-FB2A-89DAB8377B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8C74A866-2813-4554-8AB8-11F66AC51A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697047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id="{61E07F0E-75A4-227B-BFAC-7492A1E15FF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7AD17D57-F42C-A6FD-8C39-2724242EF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82DD36-1492-A2A1-9048-A5655C1EDF7D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56B4B6-7860-EF15-E03B-FA22BB17B1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1B7C1579-DD3E-4C57-A246-1BD6B09EB0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95658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5130F0F2-8B90-2D51-D190-F5F0F3509C1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3175DA06-8F7C-D384-4A60-B9A2438BD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DF93B8C-4F9B-D3B5-6B65-F100FE56CD12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07EC397-A179-F6B6-E07F-2F9ABC97850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8301AE3-A9C8-2F0C-0C03-B10048D827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C61F048-372F-4C3A-0CA6-4FFD56760B84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CB6CE5-72A1-D051-4851-4A57A7DBBA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23225DB-F743-4246-86EC-1DA7524132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3370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A3FBEC66-FCC6-2142-12F6-0569F2CB5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EE4D9DF-83CB-D99A-CC22-A893DFAD2C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63CB4F14-8F75-4EB3-A5AA-9ADD1C7779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638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48153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3254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3808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731B0DE2-8CB0-CAA8-8C8C-795B6BCFE8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EAE1F64-3AB7-B6A0-D00F-49F5B5847630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0035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9D1327BE-0B28-C44C-A548-400C0F7F360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769DA7CB-2130-F838-6651-6B46E3C37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23238F4-609F-D85C-FB52-90BF5A7B4D00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C6CAC6"/>
                </a:solidFill>
              </a:rPr>
              <a:t>Confidential – Internal Use Only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D9F75E22-1DFA-AA09-8284-2E61B9D684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138" y="6477000"/>
            <a:ext cx="914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fld id="{62308BCC-397E-466B-AF68-965E9C0D3915}" type="slidenum">
              <a:rPr lang="en-US" altLang="zh-CN" sz="800">
                <a:solidFill>
                  <a:srgbClr val="C6CAC6"/>
                </a:solidFill>
              </a:rPr>
              <a:pPr eaLnBrk="1" hangingPunct="1"/>
              <a:t>‹#›</a:t>
            </a:fld>
            <a:endParaRPr lang="en-US" altLang="zh-CN" sz="800">
              <a:solidFill>
                <a:srgbClr val="C6CAC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621792" y="6067044"/>
            <a:ext cx="10926572" cy="363658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1000"/>
            </a:lvl1pPr>
            <a:lvl2pPr marL="30175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774346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-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2BD2A0E0-DDE2-DEFC-33ED-8C085CC57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">
            <a:extLst>
              <a:ext uri="{FF2B5EF4-FFF2-40B4-BE49-F238E27FC236}">
                <a16:creationId xmlns:a16="http://schemas.microsoft.com/office/drawing/2014/main" id="{F14D9E10-715B-ED83-FC38-8AD25ED7E3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7516" y="2986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7515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6679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2F565A1-728F-0FDE-F25F-18DECA961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A0E6AD82-492C-4BF1-A3CE-0F1F27BAAA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808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-1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2F227B58-00CD-14D2-0F0D-55AA2D4603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0954" y="1606705"/>
            <a:ext cx="10410092" cy="3691482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5000" b="0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1582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E8779D6B-D494-09B3-C359-1321A8BF49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21C2FE3-4D5D-CE90-4153-88C2F317A8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5C44847D-F9A2-43EA-A2F5-83320FE1E6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573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4175E-F4D7-7F4C-8A71-4A8DABB213B9}"/>
              </a:ext>
            </a:extLst>
          </p:cNvPr>
          <p:cNvSpPr/>
          <p:nvPr userDrawn="1"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44B57C58-3C2E-A547-940D-FF0925CBD4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7187" y="1189899"/>
            <a:ext cx="3469025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18886314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Lef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CA738CA8-B32C-FFF7-3279-8BFF301667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77516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AB4E494-4A8D-02CA-1DD4-7FB82C7C39D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9C6302D-E51E-461D-BF90-2C8353335A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8521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Righ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EE3A5677-EF36-F972-EF91-EFE57E3315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334071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C96C8EE-64D0-5EA5-5CB4-6BD60AFAC0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B8739793-E6DA-48E3-826A-144E5F29F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0002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2AC31F4F-F32E-0C3C-696A-CC64E5D290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7515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6679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6BB8E3E1-853A-8282-EA31-7DA75092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F1BC0AF9-12F9-41ED-9CC0-4FA1A2CE5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6485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7854BDCF-3A89-6F2A-F7FE-883B573B1A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77515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8033657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05586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F4C2ED41-A4CA-CCD2-82DA-5342199AC50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9ACF0156-106A-4C99-BBA4-0881BA5452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689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-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E4C3E4CB-EDC5-641F-0AED-791D969495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8">
            <a:extLst>
              <a:ext uri="{FF2B5EF4-FFF2-40B4-BE49-F238E27FC236}">
                <a16:creationId xmlns:a16="http://schemas.microsoft.com/office/drawing/2014/main" id="{F9EC554D-F2FF-4A95-3E3A-A1631C7921CC}"/>
              </a:ext>
            </a:extLst>
          </p:cNvPr>
          <p:cNvCxnSpPr>
            <a:cxnSpLocks/>
          </p:cNvCxnSpPr>
          <p:nvPr userDrawn="1"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E4AD565-5D86-0998-2275-0C0BD659F451}"/>
              </a:ext>
            </a:extLst>
          </p:cNvPr>
          <p:cNvSpPr txBox="1">
            <a:spLocks/>
          </p:cNvSpPr>
          <p:nvPr userDrawn="1"/>
        </p:nvSpPr>
        <p:spPr>
          <a:xfrm>
            <a:off x="4606925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7188" y="1189899"/>
            <a:ext cx="3544252" cy="4351338"/>
          </a:xfrm>
        </p:spPr>
        <p:txBody>
          <a:bodyPr anchor="ctr"/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736895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2CAE2B3B-1AD1-D273-CC94-8AE5B309AC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E14D03-A2E1-4320-942F-1523C5C352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046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1F449419-E200-DB4E-AE17-E0B8772E56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FE2FEE9-8468-24BA-A2E6-D880AFBBE545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1022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BFFABC08-709C-25DD-BE4C-577E8F76EE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>
                <a:solidFill>
                  <a:srgbClr val="C50F3C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6213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FAFA6C3-42C6-F392-81F9-29159BEBFEB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F12FB9-E68C-51C4-E458-E0DC745271AD}"/>
              </a:ext>
            </a:extLst>
          </p:cNvPr>
          <p:cNvSpPr txBox="1">
            <a:spLocks/>
          </p:cNvSpPr>
          <p:nvPr userDrawn="1"/>
        </p:nvSpPr>
        <p:spPr>
          <a:xfrm>
            <a:off x="63563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5" name="Picture 10">
            <a:extLst>
              <a:ext uri="{FF2B5EF4-FFF2-40B4-BE49-F238E27FC236}">
                <a16:creationId xmlns:a16="http://schemas.microsoft.com/office/drawing/2014/main" id="{23108340-A67B-35BC-736E-C1298CF540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37F1EF-F9F2-3C74-4695-932548DB9D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E18B7EF-62FD-42B7-8942-7DD9F41472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7449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992CF3-C753-6ED9-CF23-A0B797D4909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Proxima Nova Regular" panose="02000506030000020004" pitchFamily="2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1720CDE-88CA-074C-A941-1EC18C714F92}"/>
              </a:ext>
            </a:extLst>
          </p:cNvPr>
          <p:cNvSpPr txBox="1">
            <a:spLocks/>
          </p:cNvSpPr>
          <p:nvPr userDrawn="1"/>
        </p:nvSpPr>
        <p:spPr>
          <a:xfrm>
            <a:off x="1708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E4840CDF-81B2-3A2B-E45B-A493919015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350" y="6408738"/>
            <a:ext cx="2063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BA3696-B8A1-204D-7B4B-A0FF71570D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11138" y="6400800"/>
            <a:ext cx="30797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39713110-08F4-401F-BC3A-6C9543E865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6807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4B7CDDAA-708C-8236-ECE8-3C61FED11D7C}"/>
              </a:ext>
            </a:extLst>
          </p:cNvPr>
          <p:cNvSpPr txBox="1">
            <a:spLocks/>
          </p:cNvSpPr>
          <p:nvPr userDrawn="1"/>
        </p:nvSpPr>
        <p:spPr>
          <a:xfrm>
            <a:off x="1708150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3" name="Picture 14">
            <a:extLst>
              <a:ext uri="{FF2B5EF4-FFF2-40B4-BE49-F238E27FC236}">
                <a16:creationId xmlns:a16="http://schemas.microsoft.com/office/drawing/2014/main" id="{482BEC7B-28EE-D3FB-1BA1-6C3A20A45D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388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811949" y="0"/>
            <a:ext cx="7380049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BFF27C-1E30-FB18-71B0-0A33F35372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11138" y="6400800"/>
            <a:ext cx="30797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DE5CCCA-6EE7-4179-AE6D-CD4989BA73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2334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D812B701-7B14-2781-694D-B0B6AB3F6A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 spc="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4335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Background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7744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8">
            <a:extLst>
              <a:ext uri="{FF2B5EF4-FFF2-40B4-BE49-F238E27FC236}">
                <a16:creationId xmlns:a16="http://schemas.microsoft.com/office/drawing/2014/main" id="{22F8C9A0-E267-2E2A-4296-104557B489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977438" y="6459538"/>
            <a:ext cx="39687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r" eaLnBrk="1" hangingPunct="1"/>
            <a:fld id="{EBDB0556-E295-4A68-B7E0-8519BF178995}" type="slidenum">
              <a:rPr lang="en-US" altLang="zh-CN" sz="700">
                <a:solidFill>
                  <a:schemeClr val="accent1"/>
                </a:solidFill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zh-CN" sz="70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5" name="Title Placeholder 14"/>
          <p:cNvSpPr>
            <a:spLocks noGrp="1"/>
          </p:cNvSpPr>
          <p:nvPr>
            <p:ph type="title"/>
          </p:nvPr>
        </p:nvSpPr>
        <p:spPr>
          <a:xfrm>
            <a:off x="381000" y="439737"/>
            <a:ext cx="11353800" cy="1036275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0999" y="1854653"/>
            <a:ext cx="11353800" cy="3960000"/>
          </a:xfrm>
        </p:spPr>
        <p:txBody>
          <a:bodyPr lIns="0" tIns="0" rIns="0" bIns="0" numCol="1" spcCol="180000"/>
          <a:lstStyle>
            <a:lvl1pPr marL="457189" marR="0" indent="-457189" algn="l" defTabSz="914377" rtl="0" eaLnBrk="1" fontAlgn="auto" latinLnBrk="0" hangingPunct="1">
              <a:lnSpc>
                <a:spcPct val="100000"/>
              </a:lnSpc>
              <a:spcBef>
                <a:spcPts val="28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/>
            </a:lvl1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GB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1001" y="6028357"/>
            <a:ext cx="9586913" cy="539239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306151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24C5EB3D-47D4-7D30-8EB9-5A2B40AA62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E5722DFA-E291-1A13-06C6-AA28ED9DAB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6AF4905-A9C1-08E1-A7CA-7B7642D51D23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7B08CAF-6214-1321-5843-AFD9E3C795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B42113F-9EAE-4964-898D-24D44FA366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9801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29970C0C-142F-A884-F701-A9066536BD3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06BC7EF4-F527-17D1-7471-2A38D3F090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8BF1499-EBE7-42BA-073B-3407826ABAE3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7517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3416934-9B14-7B32-31C3-5CB915CD205B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cxnSp>
        <p:nvCxnSpPr>
          <p:cNvPr id="5" name="Straight Connector 13">
            <a:extLst>
              <a:ext uri="{FF2B5EF4-FFF2-40B4-BE49-F238E27FC236}">
                <a16:creationId xmlns:a16="http://schemas.microsoft.com/office/drawing/2014/main" id="{2F58810A-CA62-BFAC-66DB-BE4DD7073BDE}"/>
              </a:ext>
            </a:extLst>
          </p:cNvPr>
          <p:cNvCxnSpPr>
            <a:cxnSpLocks/>
          </p:cNvCxnSpPr>
          <p:nvPr userDrawn="1"/>
        </p:nvCxnSpPr>
        <p:spPr>
          <a:xfrm>
            <a:off x="5884863" y="1943100"/>
            <a:ext cx="0" cy="42291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A1EB9926-BE2C-DFF9-923E-8CFA38647F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77849" y="1942676"/>
            <a:ext cx="5042621" cy="4229524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151335" y="1942676"/>
            <a:ext cx="5042621" cy="4229524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1AC1E3D-7830-3BEB-C7FF-85F86C391F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C387ADC-8A5D-43E7-AF92-A2AE86942F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7181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2BD65420-CC80-6B5D-4A8C-27E793A7F2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4013" y="6415088"/>
            <a:ext cx="196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8012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Point-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ame Side Corner Rectangle 9">
            <a:extLst>
              <a:ext uri="{FF2B5EF4-FFF2-40B4-BE49-F238E27FC236}">
                <a16:creationId xmlns:a16="http://schemas.microsoft.com/office/drawing/2014/main" id="{47AD1EA3-135A-8B48-007B-146C4E938B58}"/>
              </a:ext>
            </a:extLst>
          </p:cNvPr>
          <p:cNvSpPr/>
          <p:nvPr userDrawn="1"/>
        </p:nvSpPr>
        <p:spPr>
          <a:xfrm rot="10800000">
            <a:off x="-9525" y="-31750"/>
            <a:ext cx="12220575" cy="6897688"/>
          </a:xfrm>
          <a:custGeom>
            <a:avLst/>
            <a:gdLst>
              <a:gd name="connsiteX0" fmla="*/ 1143023 w 12219709"/>
              <a:gd name="connsiteY0" fmla="*/ 0 h 6858000"/>
              <a:gd name="connsiteX1" fmla="*/ 11076686 w 12219709"/>
              <a:gd name="connsiteY1" fmla="*/ 0 h 6858000"/>
              <a:gd name="connsiteX2" fmla="*/ 12219709 w 12219709"/>
              <a:gd name="connsiteY2" fmla="*/ 1143023 h 6858000"/>
              <a:gd name="connsiteX3" fmla="*/ 12219709 w 12219709"/>
              <a:gd name="connsiteY3" fmla="*/ 6858000 h 6858000"/>
              <a:gd name="connsiteX4" fmla="*/ 12219709 w 12219709"/>
              <a:gd name="connsiteY4" fmla="*/ 6858000 h 6858000"/>
              <a:gd name="connsiteX5" fmla="*/ 0 w 12219709"/>
              <a:gd name="connsiteY5" fmla="*/ 6858000 h 6858000"/>
              <a:gd name="connsiteX6" fmla="*/ 0 w 12219709"/>
              <a:gd name="connsiteY6" fmla="*/ 6858000 h 6858000"/>
              <a:gd name="connsiteX7" fmla="*/ 0 w 12219709"/>
              <a:gd name="connsiteY7" fmla="*/ 1143023 h 6858000"/>
              <a:gd name="connsiteX8" fmla="*/ 1143023 w 12219709"/>
              <a:gd name="connsiteY8" fmla="*/ 0 h 6858000"/>
              <a:gd name="connsiteX0" fmla="*/ 1143023 w 12219709"/>
              <a:gd name="connsiteY0" fmla="*/ 9236 h 6867236"/>
              <a:gd name="connsiteX1" fmla="*/ 9589632 w 12219709"/>
              <a:gd name="connsiteY1" fmla="*/ 0 h 6867236"/>
              <a:gd name="connsiteX2" fmla="*/ 12219709 w 12219709"/>
              <a:gd name="connsiteY2" fmla="*/ 1152259 h 6867236"/>
              <a:gd name="connsiteX3" fmla="*/ 12219709 w 12219709"/>
              <a:gd name="connsiteY3" fmla="*/ 6867236 h 6867236"/>
              <a:gd name="connsiteX4" fmla="*/ 12219709 w 12219709"/>
              <a:gd name="connsiteY4" fmla="*/ 6867236 h 6867236"/>
              <a:gd name="connsiteX5" fmla="*/ 0 w 12219709"/>
              <a:gd name="connsiteY5" fmla="*/ 6867236 h 6867236"/>
              <a:gd name="connsiteX6" fmla="*/ 0 w 12219709"/>
              <a:gd name="connsiteY6" fmla="*/ 6867236 h 6867236"/>
              <a:gd name="connsiteX7" fmla="*/ 0 w 12219709"/>
              <a:gd name="connsiteY7" fmla="*/ 1152259 h 6867236"/>
              <a:gd name="connsiteX8" fmla="*/ 1143023 w 12219709"/>
              <a:gd name="connsiteY8" fmla="*/ 9236 h 6867236"/>
              <a:gd name="connsiteX0" fmla="*/ 9594296 w 12219709"/>
              <a:gd name="connsiteY0" fmla="*/ 0 h 6885709"/>
              <a:gd name="connsiteX1" fmla="*/ 9589632 w 12219709"/>
              <a:gd name="connsiteY1" fmla="*/ 18473 h 6885709"/>
              <a:gd name="connsiteX2" fmla="*/ 12219709 w 12219709"/>
              <a:gd name="connsiteY2" fmla="*/ 1170732 h 6885709"/>
              <a:gd name="connsiteX3" fmla="*/ 12219709 w 12219709"/>
              <a:gd name="connsiteY3" fmla="*/ 6885709 h 6885709"/>
              <a:gd name="connsiteX4" fmla="*/ 12219709 w 12219709"/>
              <a:gd name="connsiteY4" fmla="*/ 6885709 h 6885709"/>
              <a:gd name="connsiteX5" fmla="*/ 0 w 12219709"/>
              <a:gd name="connsiteY5" fmla="*/ 6885709 h 6885709"/>
              <a:gd name="connsiteX6" fmla="*/ 0 w 12219709"/>
              <a:gd name="connsiteY6" fmla="*/ 6885709 h 6885709"/>
              <a:gd name="connsiteX7" fmla="*/ 0 w 12219709"/>
              <a:gd name="connsiteY7" fmla="*/ 1170732 h 6885709"/>
              <a:gd name="connsiteX8" fmla="*/ 9594296 w 12219709"/>
              <a:gd name="connsiteY8" fmla="*/ 0 h 6885709"/>
              <a:gd name="connsiteX0" fmla="*/ 8624478 w 12219709"/>
              <a:gd name="connsiteY0" fmla="*/ 0 h 6876473"/>
              <a:gd name="connsiteX1" fmla="*/ 9589632 w 12219709"/>
              <a:gd name="connsiteY1" fmla="*/ 9237 h 6876473"/>
              <a:gd name="connsiteX2" fmla="*/ 12219709 w 12219709"/>
              <a:gd name="connsiteY2" fmla="*/ 1161496 h 6876473"/>
              <a:gd name="connsiteX3" fmla="*/ 12219709 w 12219709"/>
              <a:gd name="connsiteY3" fmla="*/ 6876473 h 6876473"/>
              <a:gd name="connsiteX4" fmla="*/ 12219709 w 12219709"/>
              <a:gd name="connsiteY4" fmla="*/ 6876473 h 6876473"/>
              <a:gd name="connsiteX5" fmla="*/ 0 w 12219709"/>
              <a:gd name="connsiteY5" fmla="*/ 6876473 h 6876473"/>
              <a:gd name="connsiteX6" fmla="*/ 0 w 12219709"/>
              <a:gd name="connsiteY6" fmla="*/ 6876473 h 6876473"/>
              <a:gd name="connsiteX7" fmla="*/ 0 w 12219709"/>
              <a:gd name="connsiteY7" fmla="*/ 1161496 h 6876473"/>
              <a:gd name="connsiteX8" fmla="*/ 8624478 w 12219709"/>
              <a:gd name="connsiteY8" fmla="*/ 0 h 6876473"/>
              <a:gd name="connsiteX0" fmla="*/ 8624478 w 12219709"/>
              <a:gd name="connsiteY0" fmla="*/ 18472 h 6894945"/>
              <a:gd name="connsiteX1" fmla="*/ 8610578 w 12219709"/>
              <a:gd name="connsiteY1" fmla="*/ 0 h 6894945"/>
              <a:gd name="connsiteX2" fmla="*/ 12219709 w 12219709"/>
              <a:gd name="connsiteY2" fmla="*/ 1179968 h 6894945"/>
              <a:gd name="connsiteX3" fmla="*/ 12219709 w 12219709"/>
              <a:gd name="connsiteY3" fmla="*/ 6894945 h 6894945"/>
              <a:gd name="connsiteX4" fmla="*/ 12219709 w 12219709"/>
              <a:gd name="connsiteY4" fmla="*/ 6894945 h 6894945"/>
              <a:gd name="connsiteX5" fmla="*/ 0 w 12219709"/>
              <a:gd name="connsiteY5" fmla="*/ 6894945 h 6894945"/>
              <a:gd name="connsiteX6" fmla="*/ 0 w 12219709"/>
              <a:gd name="connsiteY6" fmla="*/ 6894945 h 6894945"/>
              <a:gd name="connsiteX7" fmla="*/ 0 w 12219709"/>
              <a:gd name="connsiteY7" fmla="*/ 1179968 h 6894945"/>
              <a:gd name="connsiteX8" fmla="*/ 8624478 w 12219709"/>
              <a:gd name="connsiteY8" fmla="*/ 18472 h 6894945"/>
              <a:gd name="connsiteX0" fmla="*/ 8603213 w 12219709"/>
              <a:gd name="connsiteY0" fmla="*/ 0 h 6897738"/>
              <a:gd name="connsiteX1" fmla="*/ 8610578 w 12219709"/>
              <a:gd name="connsiteY1" fmla="*/ 2793 h 6897738"/>
              <a:gd name="connsiteX2" fmla="*/ 12219709 w 12219709"/>
              <a:gd name="connsiteY2" fmla="*/ 1182761 h 6897738"/>
              <a:gd name="connsiteX3" fmla="*/ 12219709 w 12219709"/>
              <a:gd name="connsiteY3" fmla="*/ 6897738 h 6897738"/>
              <a:gd name="connsiteX4" fmla="*/ 12219709 w 12219709"/>
              <a:gd name="connsiteY4" fmla="*/ 6897738 h 6897738"/>
              <a:gd name="connsiteX5" fmla="*/ 0 w 12219709"/>
              <a:gd name="connsiteY5" fmla="*/ 6897738 h 6897738"/>
              <a:gd name="connsiteX6" fmla="*/ 0 w 12219709"/>
              <a:gd name="connsiteY6" fmla="*/ 6897738 h 6897738"/>
              <a:gd name="connsiteX7" fmla="*/ 0 w 12219709"/>
              <a:gd name="connsiteY7" fmla="*/ 1182761 h 6897738"/>
              <a:gd name="connsiteX8" fmla="*/ 8603213 w 12219709"/>
              <a:gd name="connsiteY8" fmla="*/ 0 h 6897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19709" h="6897738">
                <a:moveTo>
                  <a:pt x="8603213" y="0"/>
                </a:moveTo>
                <a:lnTo>
                  <a:pt x="8610578" y="2793"/>
                </a:lnTo>
                <a:lnTo>
                  <a:pt x="12219709" y="1182761"/>
                </a:lnTo>
                <a:lnTo>
                  <a:pt x="12219709" y="6897738"/>
                </a:lnTo>
                <a:lnTo>
                  <a:pt x="12219709" y="6897738"/>
                </a:lnTo>
                <a:lnTo>
                  <a:pt x="0" y="6897738"/>
                </a:lnTo>
                <a:lnTo>
                  <a:pt x="0" y="6897738"/>
                </a:lnTo>
                <a:lnTo>
                  <a:pt x="0" y="1182761"/>
                </a:lnTo>
                <a:lnTo>
                  <a:pt x="860321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EAC8F304-D741-A5AB-462C-305A93C18B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9476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ef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682777D-736F-A671-9AA3-E38EAE865F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C5D32F74-1BC8-C1A6-33AC-E29070DF89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79C5D4C-499B-C899-672F-8AEB4F797D77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5537" y="1473428"/>
            <a:ext cx="4963925" cy="4256495"/>
          </a:xfrm>
        </p:spPr>
        <p:txBody>
          <a:bodyPr/>
          <a:lstStyle>
            <a:lvl3pPr>
              <a:defRPr sz="1050"/>
            </a:lvl3pPr>
            <a:lvl4pPr>
              <a:defRPr sz="1050" b="0" i="0">
                <a:latin typeface="Trebuchet MS" panose="020B0703020202090204" pitchFamily="34" charset="0"/>
              </a:defRPr>
            </a:lvl4pPr>
            <a:lvl5pPr>
              <a:defRPr sz="1050" b="0" i="0"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739FA-D83F-B1A2-89C0-6CF18342AA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3B5A036-57B0-497F-90BD-F7546497BF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1849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33925C58-1E04-BCC0-9E14-33D7EA7DC2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46083F4-2000-44AE-BA03-A6620B8BF721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5537" y="1473428"/>
            <a:ext cx="10972800" cy="4256495"/>
          </a:xfrm>
        </p:spPr>
        <p:txBody>
          <a:bodyPr/>
          <a:lstStyle>
            <a:lvl3pPr>
              <a:defRPr sz="1050"/>
            </a:lvl3pPr>
            <a:lvl4pPr>
              <a:defRPr sz="1050" b="0" i="0">
                <a:latin typeface="Trebuchet MS" panose="020B0703020202090204" pitchFamily="34" charset="0"/>
              </a:defRPr>
            </a:lvl4pPr>
            <a:lvl5pPr>
              <a:defRPr sz="1050" b="0" i="0"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9C4EEF-2FFC-C5F5-7D30-0E087EFBE6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34DDA827-8693-48DA-95E8-312711CED5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516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nip Same Side Corner Rectangle 9">
            <a:extLst>
              <a:ext uri="{FF2B5EF4-FFF2-40B4-BE49-F238E27FC236}">
                <a16:creationId xmlns:a16="http://schemas.microsoft.com/office/drawing/2014/main" id="{66DCE0A0-4820-18F6-4B9B-698398D553F4}"/>
              </a:ext>
            </a:extLst>
          </p:cNvPr>
          <p:cNvSpPr/>
          <p:nvPr userDrawn="1"/>
        </p:nvSpPr>
        <p:spPr>
          <a:xfrm rot="10800000">
            <a:off x="-3175" y="-7938"/>
            <a:ext cx="12242800" cy="3225801"/>
          </a:xfrm>
          <a:custGeom>
            <a:avLst/>
            <a:gdLst>
              <a:gd name="connsiteX0" fmla="*/ 1143023 w 12219709"/>
              <a:gd name="connsiteY0" fmla="*/ 0 h 6858000"/>
              <a:gd name="connsiteX1" fmla="*/ 11076686 w 12219709"/>
              <a:gd name="connsiteY1" fmla="*/ 0 h 6858000"/>
              <a:gd name="connsiteX2" fmla="*/ 12219709 w 12219709"/>
              <a:gd name="connsiteY2" fmla="*/ 1143023 h 6858000"/>
              <a:gd name="connsiteX3" fmla="*/ 12219709 w 12219709"/>
              <a:gd name="connsiteY3" fmla="*/ 6858000 h 6858000"/>
              <a:gd name="connsiteX4" fmla="*/ 12219709 w 12219709"/>
              <a:gd name="connsiteY4" fmla="*/ 6858000 h 6858000"/>
              <a:gd name="connsiteX5" fmla="*/ 0 w 12219709"/>
              <a:gd name="connsiteY5" fmla="*/ 6858000 h 6858000"/>
              <a:gd name="connsiteX6" fmla="*/ 0 w 12219709"/>
              <a:gd name="connsiteY6" fmla="*/ 6858000 h 6858000"/>
              <a:gd name="connsiteX7" fmla="*/ 0 w 12219709"/>
              <a:gd name="connsiteY7" fmla="*/ 1143023 h 6858000"/>
              <a:gd name="connsiteX8" fmla="*/ 1143023 w 12219709"/>
              <a:gd name="connsiteY8" fmla="*/ 0 h 6858000"/>
              <a:gd name="connsiteX0" fmla="*/ 1143023 w 12219709"/>
              <a:gd name="connsiteY0" fmla="*/ 9236 h 6867236"/>
              <a:gd name="connsiteX1" fmla="*/ 9589632 w 12219709"/>
              <a:gd name="connsiteY1" fmla="*/ 0 h 6867236"/>
              <a:gd name="connsiteX2" fmla="*/ 12219709 w 12219709"/>
              <a:gd name="connsiteY2" fmla="*/ 1152259 h 6867236"/>
              <a:gd name="connsiteX3" fmla="*/ 12219709 w 12219709"/>
              <a:gd name="connsiteY3" fmla="*/ 6867236 h 6867236"/>
              <a:gd name="connsiteX4" fmla="*/ 12219709 w 12219709"/>
              <a:gd name="connsiteY4" fmla="*/ 6867236 h 6867236"/>
              <a:gd name="connsiteX5" fmla="*/ 0 w 12219709"/>
              <a:gd name="connsiteY5" fmla="*/ 6867236 h 6867236"/>
              <a:gd name="connsiteX6" fmla="*/ 0 w 12219709"/>
              <a:gd name="connsiteY6" fmla="*/ 6867236 h 6867236"/>
              <a:gd name="connsiteX7" fmla="*/ 0 w 12219709"/>
              <a:gd name="connsiteY7" fmla="*/ 1152259 h 6867236"/>
              <a:gd name="connsiteX8" fmla="*/ 1143023 w 12219709"/>
              <a:gd name="connsiteY8" fmla="*/ 9236 h 6867236"/>
              <a:gd name="connsiteX0" fmla="*/ 9594296 w 12219709"/>
              <a:gd name="connsiteY0" fmla="*/ 0 h 6885709"/>
              <a:gd name="connsiteX1" fmla="*/ 9589632 w 12219709"/>
              <a:gd name="connsiteY1" fmla="*/ 18473 h 6885709"/>
              <a:gd name="connsiteX2" fmla="*/ 12219709 w 12219709"/>
              <a:gd name="connsiteY2" fmla="*/ 1170732 h 6885709"/>
              <a:gd name="connsiteX3" fmla="*/ 12219709 w 12219709"/>
              <a:gd name="connsiteY3" fmla="*/ 6885709 h 6885709"/>
              <a:gd name="connsiteX4" fmla="*/ 12219709 w 12219709"/>
              <a:gd name="connsiteY4" fmla="*/ 6885709 h 6885709"/>
              <a:gd name="connsiteX5" fmla="*/ 0 w 12219709"/>
              <a:gd name="connsiteY5" fmla="*/ 6885709 h 6885709"/>
              <a:gd name="connsiteX6" fmla="*/ 0 w 12219709"/>
              <a:gd name="connsiteY6" fmla="*/ 6885709 h 6885709"/>
              <a:gd name="connsiteX7" fmla="*/ 0 w 12219709"/>
              <a:gd name="connsiteY7" fmla="*/ 1170732 h 6885709"/>
              <a:gd name="connsiteX8" fmla="*/ 9594296 w 12219709"/>
              <a:gd name="connsiteY8" fmla="*/ 0 h 6885709"/>
              <a:gd name="connsiteX0" fmla="*/ 8624478 w 12219709"/>
              <a:gd name="connsiteY0" fmla="*/ 0 h 6876473"/>
              <a:gd name="connsiteX1" fmla="*/ 9589632 w 12219709"/>
              <a:gd name="connsiteY1" fmla="*/ 9237 h 6876473"/>
              <a:gd name="connsiteX2" fmla="*/ 12219709 w 12219709"/>
              <a:gd name="connsiteY2" fmla="*/ 1161496 h 6876473"/>
              <a:gd name="connsiteX3" fmla="*/ 12219709 w 12219709"/>
              <a:gd name="connsiteY3" fmla="*/ 6876473 h 6876473"/>
              <a:gd name="connsiteX4" fmla="*/ 12219709 w 12219709"/>
              <a:gd name="connsiteY4" fmla="*/ 6876473 h 6876473"/>
              <a:gd name="connsiteX5" fmla="*/ 0 w 12219709"/>
              <a:gd name="connsiteY5" fmla="*/ 6876473 h 6876473"/>
              <a:gd name="connsiteX6" fmla="*/ 0 w 12219709"/>
              <a:gd name="connsiteY6" fmla="*/ 6876473 h 6876473"/>
              <a:gd name="connsiteX7" fmla="*/ 0 w 12219709"/>
              <a:gd name="connsiteY7" fmla="*/ 1161496 h 6876473"/>
              <a:gd name="connsiteX8" fmla="*/ 8624478 w 12219709"/>
              <a:gd name="connsiteY8" fmla="*/ 0 h 6876473"/>
              <a:gd name="connsiteX0" fmla="*/ 8624478 w 12219709"/>
              <a:gd name="connsiteY0" fmla="*/ 18472 h 6894945"/>
              <a:gd name="connsiteX1" fmla="*/ 8610578 w 12219709"/>
              <a:gd name="connsiteY1" fmla="*/ 0 h 6894945"/>
              <a:gd name="connsiteX2" fmla="*/ 12219709 w 12219709"/>
              <a:gd name="connsiteY2" fmla="*/ 1179968 h 6894945"/>
              <a:gd name="connsiteX3" fmla="*/ 12219709 w 12219709"/>
              <a:gd name="connsiteY3" fmla="*/ 6894945 h 6894945"/>
              <a:gd name="connsiteX4" fmla="*/ 12219709 w 12219709"/>
              <a:gd name="connsiteY4" fmla="*/ 6894945 h 6894945"/>
              <a:gd name="connsiteX5" fmla="*/ 0 w 12219709"/>
              <a:gd name="connsiteY5" fmla="*/ 6894945 h 6894945"/>
              <a:gd name="connsiteX6" fmla="*/ 0 w 12219709"/>
              <a:gd name="connsiteY6" fmla="*/ 6894945 h 6894945"/>
              <a:gd name="connsiteX7" fmla="*/ 0 w 12219709"/>
              <a:gd name="connsiteY7" fmla="*/ 1179968 h 6894945"/>
              <a:gd name="connsiteX8" fmla="*/ 8624478 w 12219709"/>
              <a:gd name="connsiteY8" fmla="*/ 18472 h 6894945"/>
              <a:gd name="connsiteX0" fmla="*/ 8603213 w 12219709"/>
              <a:gd name="connsiteY0" fmla="*/ 0 h 6897738"/>
              <a:gd name="connsiteX1" fmla="*/ 8610578 w 12219709"/>
              <a:gd name="connsiteY1" fmla="*/ 2793 h 6897738"/>
              <a:gd name="connsiteX2" fmla="*/ 12219709 w 12219709"/>
              <a:gd name="connsiteY2" fmla="*/ 1182761 h 6897738"/>
              <a:gd name="connsiteX3" fmla="*/ 12219709 w 12219709"/>
              <a:gd name="connsiteY3" fmla="*/ 6897738 h 6897738"/>
              <a:gd name="connsiteX4" fmla="*/ 12219709 w 12219709"/>
              <a:gd name="connsiteY4" fmla="*/ 6897738 h 6897738"/>
              <a:gd name="connsiteX5" fmla="*/ 0 w 12219709"/>
              <a:gd name="connsiteY5" fmla="*/ 6897738 h 6897738"/>
              <a:gd name="connsiteX6" fmla="*/ 0 w 12219709"/>
              <a:gd name="connsiteY6" fmla="*/ 6897738 h 6897738"/>
              <a:gd name="connsiteX7" fmla="*/ 0 w 12219709"/>
              <a:gd name="connsiteY7" fmla="*/ 1182761 h 6897738"/>
              <a:gd name="connsiteX8" fmla="*/ 8603213 w 12219709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0 w 12246603"/>
              <a:gd name="connsiteY5" fmla="*/ 6897738 h 6897738"/>
              <a:gd name="connsiteX6" fmla="*/ 0 w 12246603"/>
              <a:gd name="connsiteY6" fmla="*/ 6897738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0 w 12246603"/>
              <a:gd name="connsiteY5" fmla="*/ 6897738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40341 w 12246603"/>
              <a:gd name="connsiteY5" fmla="*/ 5001703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26894 w 12246603"/>
              <a:gd name="connsiteY5" fmla="*/ 3293926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16660 w 12260050"/>
              <a:gd name="connsiteY0" fmla="*/ 0 h 6897738"/>
              <a:gd name="connsiteX1" fmla="*/ 8624025 w 12260050"/>
              <a:gd name="connsiteY1" fmla="*/ 2793 h 6897738"/>
              <a:gd name="connsiteX2" fmla="*/ 12233156 w 12260050"/>
              <a:gd name="connsiteY2" fmla="*/ 1182761 h 6897738"/>
              <a:gd name="connsiteX3" fmla="*/ 12233156 w 12260050"/>
              <a:gd name="connsiteY3" fmla="*/ 6897738 h 6897738"/>
              <a:gd name="connsiteX4" fmla="*/ 12260050 w 12260050"/>
              <a:gd name="connsiteY4" fmla="*/ 4557950 h 6897738"/>
              <a:gd name="connsiteX5" fmla="*/ 40341 w 12260050"/>
              <a:gd name="connsiteY5" fmla="*/ 3293926 h 6897738"/>
              <a:gd name="connsiteX6" fmla="*/ 0 w 12260050"/>
              <a:gd name="connsiteY6" fmla="*/ 3132562 h 6897738"/>
              <a:gd name="connsiteX7" fmla="*/ 13447 w 12260050"/>
              <a:gd name="connsiteY7" fmla="*/ 1182761 h 6897738"/>
              <a:gd name="connsiteX8" fmla="*/ 8616660 w 12260050"/>
              <a:gd name="connsiteY8" fmla="*/ 0 h 6897738"/>
              <a:gd name="connsiteX0" fmla="*/ 8616660 w 12260050"/>
              <a:gd name="connsiteY0" fmla="*/ 0 h 4557950"/>
              <a:gd name="connsiteX1" fmla="*/ 8624025 w 12260050"/>
              <a:gd name="connsiteY1" fmla="*/ 2793 h 4557950"/>
              <a:gd name="connsiteX2" fmla="*/ 12233156 w 12260050"/>
              <a:gd name="connsiteY2" fmla="*/ 1182761 h 4557950"/>
              <a:gd name="connsiteX3" fmla="*/ 12233156 w 12260050"/>
              <a:gd name="connsiteY3" fmla="*/ 3334268 h 4557950"/>
              <a:gd name="connsiteX4" fmla="*/ 12260050 w 12260050"/>
              <a:gd name="connsiteY4" fmla="*/ 4557950 h 4557950"/>
              <a:gd name="connsiteX5" fmla="*/ 40341 w 12260050"/>
              <a:gd name="connsiteY5" fmla="*/ 3293926 h 4557950"/>
              <a:gd name="connsiteX6" fmla="*/ 0 w 12260050"/>
              <a:gd name="connsiteY6" fmla="*/ 3132562 h 4557950"/>
              <a:gd name="connsiteX7" fmla="*/ 13447 w 12260050"/>
              <a:gd name="connsiteY7" fmla="*/ 1182761 h 4557950"/>
              <a:gd name="connsiteX8" fmla="*/ 8616660 w 12260050"/>
              <a:gd name="connsiteY8" fmla="*/ 0 h 4557950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33156 w 12260050"/>
              <a:gd name="connsiteY2" fmla="*/ 1182761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182761 h 3441844"/>
              <a:gd name="connsiteX8" fmla="*/ 8616660 w 12260050"/>
              <a:gd name="connsiteY8" fmla="*/ 0 h 3441844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60050 w 12260050"/>
              <a:gd name="connsiteY2" fmla="*/ 994503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182761 h 3441844"/>
              <a:gd name="connsiteX8" fmla="*/ 8616660 w 12260050"/>
              <a:gd name="connsiteY8" fmla="*/ 0 h 3441844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60050 w 12260050"/>
              <a:gd name="connsiteY2" fmla="*/ 994503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007950 h 3441844"/>
              <a:gd name="connsiteX8" fmla="*/ 8616660 w 12260050"/>
              <a:gd name="connsiteY8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40341 w 12313838"/>
              <a:gd name="connsiteY5" fmla="*/ 3293926 h 3441844"/>
              <a:gd name="connsiteX6" fmla="*/ 0 w 12313838"/>
              <a:gd name="connsiteY6" fmla="*/ 3132562 h 3441844"/>
              <a:gd name="connsiteX7" fmla="*/ 13447 w 12313838"/>
              <a:gd name="connsiteY7" fmla="*/ 1007950 h 3441844"/>
              <a:gd name="connsiteX8" fmla="*/ 8616660 w 12313838"/>
              <a:gd name="connsiteY8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0 w 12313838"/>
              <a:gd name="connsiteY5" fmla="*/ 3132562 h 3441844"/>
              <a:gd name="connsiteX6" fmla="*/ 13447 w 12313838"/>
              <a:gd name="connsiteY6" fmla="*/ 1007950 h 3441844"/>
              <a:gd name="connsiteX7" fmla="*/ 8616660 w 12313838"/>
              <a:gd name="connsiteY7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0 w 12313838"/>
              <a:gd name="connsiteY5" fmla="*/ 3217086 h 3441844"/>
              <a:gd name="connsiteX6" fmla="*/ 13447 w 12313838"/>
              <a:gd name="connsiteY6" fmla="*/ 1007950 h 3441844"/>
              <a:gd name="connsiteX7" fmla="*/ 8616660 w 12313838"/>
              <a:gd name="connsiteY7" fmla="*/ 0 h 3441844"/>
              <a:gd name="connsiteX0" fmla="*/ 8616660 w 12313838"/>
              <a:gd name="connsiteY0" fmla="*/ 0 h 3320821"/>
              <a:gd name="connsiteX1" fmla="*/ 8624025 w 12313838"/>
              <a:gd name="connsiteY1" fmla="*/ 2793 h 3320821"/>
              <a:gd name="connsiteX2" fmla="*/ 12260050 w 12313838"/>
              <a:gd name="connsiteY2" fmla="*/ 994503 h 3320821"/>
              <a:gd name="connsiteX3" fmla="*/ 12313838 w 12313838"/>
              <a:gd name="connsiteY3" fmla="*/ 3320821 h 3320821"/>
              <a:gd name="connsiteX4" fmla="*/ 0 w 12313838"/>
              <a:gd name="connsiteY4" fmla="*/ 3217086 h 3320821"/>
              <a:gd name="connsiteX5" fmla="*/ 13447 w 12313838"/>
              <a:gd name="connsiteY5" fmla="*/ 1007950 h 3320821"/>
              <a:gd name="connsiteX6" fmla="*/ 8616660 w 12313838"/>
              <a:gd name="connsiteY6" fmla="*/ 0 h 3320821"/>
              <a:gd name="connsiteX0" fmla="*/ 8616660 w 12260050"/>
              <a:gd name="connsiteY0" fmla="*/ 0 h 3236297"/>
              <a:gd name="connsiteX1" fmla="*/ 8624025 w 12260050"/>
              <a:gd name="connsiteY1" fmla="*/ 2793 h 3236297"/>
              <a:gd name="connsiteX2" fmla="*/ 12260050 w 12260050"/>
              <a:gd name="connsiteY2" fmla="*/ 994503 h 3236297"/>
              <a:gd name="connsiteX3" fmla="*/ 12190893 w 12260050"/>
              <a:gd name="connsiteY3" fmla="*/ 3236297 h 3236297"/>
              <a:gd name="connsiteX4" fmla="*/ 0 w 12260050"/>
              <a:gd name="connsiteY4" fmla="*/ 3217086 h 3236297"/>
              <a:gd name="connsiteX5" fmla="*/ 13447 w 12260050"/>
              <a:gd name="connsiteY5" fmla="*/ 1007950 h 3236297"/>
              <a:gd name="connsiteX6" fmla="*/ 8616660 w 12260050"/>
              <a:gd name="connsiteY6" fmla="*/ 0 h 3236297"/>
              <a:gd name="connsiteX0" fmla="*/ 8616660 w 12260050"/>
              <a:gd name="connsiteY0" fmla="*/ 0 h 3217086"/>
              <a:gd name="connsiteX1" fmla="*/ 8624025 w 12260050"/>
              <a:gd name="connsiteY1" fmla="*/ 2793 h 3217086"/>
              <a:gd name="connsiteX2" fmla="*/ 12260050 w 12260050"/>
              <a:gd name="connsiteY2" fmla="*/ 994503 h 3217086"/>
              <a:gd name="connsiteX3" fmla="*/ 11745219 w 12260050"/>
              <a:gd name="connsiteY3" fmla="*/ 2951988 h 3217086"/>
              <a:gd name="connsiteX4" fmla="*/ 0 w 12260050"/>
              <a:gd name="connsiteY4" fmla="*/ 3217086 h 3217086"/>
              <a:gd name="connsiteX5" fmla="*/ 13447 w 12260050"/>
              <a:gd name="connsiteY5" fmla="*/ 1007950 h 3217086"/>
              <a:gd name="connsiteX6" fmla="*/ 8616660 w 12260050"/>
              <a:gd name="connsiteY6" fmla="*/ 0 h 3217086"/>
              <a:gd name="connsiteX0" fmla="*/ 8616660 w 12260050"/>
              <a:gd name="connsiteY0" fmla="*/ 0 h 3217086"/>
              <a:gd name="connsiteX1" fmla="*/ 8624025 w 12260050"/>
              <a:gd name="connsiteY1" fmla="*/ 2793 h 3217086"/>
              <a:gd name="connsiteX2" fmla="*/ 12260050 w 12260050"/>
              <a:gd name="connsiteY2" fmla="*/ 994503 h 3217086"/>
              <a:gd name="connsiteX3" fmla="*/ 12183209 w 12260050"/>
              <a:gd name="connsiteY3" fmla="*/ 3213245 h 3217086"/>
              <a:gd name="connsiteX4" fmla="*/ 0 w 12260050"/>
              <a:gd name="connsiteY4" fmla="*/ 3217086 h 3217086"/>
              <a:gd name="connsiteX5" fmla="*/ 13447 w 12260050"/>
              <a:gd name="connsiteY5" fmla="*/ 1007950 h 3217086"/>
              <a:gd name="connsiteX6" fmla="*/ 8616660 w 12260050"/>
              <a:gd name="connsiteY6" fmla="*/ 0 h 3217086"/>
              <a:gd name="connsiteX0" fmla="*/ 8616660 w 12198578"/>
              <a:gd name="connsiteY0" fmla="*/ 0 h 3217086"/>
              <a:gd name="connsiteX1" fmla="*/ 8624025 w 12198578"/>
              <a:gd name="connsiteY1" fmla="*/ 2793 h 3217086"/>
              <a:gd name="connsiteX2" fmla="*/ 12198578 w 12198578"/>
              <a:gd name="connsiteY2" fmla="*/ 986819 h 3217086"/>
              <a:gd name="connsiteX3" fmla="*/ 12183209 w 12198578"/>
              <a:gd name="connsiteY3" fmla="*/ 3213245 h 3217086"/>
              <a:gd name="connsiteX4" fmla="*/ 0 w 12198578"/>
              <a:gd name="connsiteY4" fmla="*/ 3217086 h 3217086"/>
              <a:gd name="connsiteX5" fmla="*/ 13447 w 12198578"/>
              <a:gd name="connsiteY5" fmla="*/ 1007950 h 3217086"/>
              <a:gd name="connsiteX6" fmla="*/ 8616660 w 12198578"/>
              <a:gd name="connsiteY6" fmla="*/ 0 h 3217086"/>
              <a:gd name="connsiteX0" fmla="*/ 8616660 w 12198578"/>
              <a:gd name="connsiteY0" fmla="*/ 0 h 3223755"/>
              <a:gd name="connsiteX1" fmla="*/ 8624025 w 12198578"/>
              <a:gd name="connsiteY1" fmla="*/ 2793 h 3223755"/>
              <a:gd name="connsiteX2" fmla="*/ 12198578 w 12198578"/>
              <a:gd name="connsiteY2" fmla="*/ 986819 h 3223755"/>
              <a:gd name="connsiteX3" fmla="*/ 12193720 w 12198578"/>
              <a:gd name="connsiteY3" fmla="*/ 3223755 h 3223755"/>
              <a:gd name="connsiteX4" fmla="*/ 0 w 12198578"/>
              <a:gd name="connsiteY4" fmla="*/ 3217086 h 3223755"/>
              <a:gd name="connsiteX5" fmla="*/ 13447 w 12198578"/>
              <a:gd name="connsiteY5" fmla="*/ 1007950 h 3223755"/>
              <a:gd name="connsiteX6" fmla="*/ 8616660 w 12198578"/>
              <a:gd name="connsiteY6" fmla="*/ 0 h 3223755"/>
              <a:gd name="connsiteX0" fmla="*/ 8661048 w 12242966"/>
              <a:gd name="connsiteY0" fmla="*/ 0 h 3225964"/>
              <a:gd name="connsiteX1" fmla="*/ 8668413 w 12242966"/>
              <a:gd name="connsiteY1" fmla="*/ 2793 h 3225964"/>
              <a:gd name="connsiteX2" fmla="*/ 12242966 w 12242966"/>
              <a:gd name="connsiteY2" fmla="*/ 986819 h 3225964"/>
              <a:gd name="connsiteX3" fmla="*/ 12238108 w 12242966"/>
              <a:gd name="connsiteY3" fmla="*/ 3223755 h 3225964"/>
              <a:gd name="connsiteX4" fmla="*/ 0 w 12242966"/>
              <a:gd name="connsiteY4" fmla="*/ 3225964 h 3225964"/>
              <a:gd name="connsiteX5" fmla="*/ 57835 w 12242966"/>
              <a:gd name="connsiteY5" fmla="*/ 1007950 h 3225964"/>
              <a:gd name="connsiteX6" fmla="*/ 8661048 w 12242966"/>
              <a:gd name="connsiteY6" fmla="*/ 0 h 3225964"/>
              <a:gd name="connsiteX0" fmla="*/ 8661048 w 12242966"/>
              <a:gd name="connsiteY0" fmla="*/ 0 h 3225964"/>
              <a:gd name="connsiteX1" fmla="*/ 8668413 w 12242966"/>
              <a:gd name="connsiteY1" fmla="*/ 2793 h 3225964"/>
              <a:gd name="connsiteX2" fmla="*/ 12242966 w 12242966"/>
              <a:gd name="connsiteY2" fmla="*/ 986819 h 3225964"/>
              <a:gd name="connsiteX3" fmla="*/ 12238108 w 12242966"/>
              <a:gd name="connsiteY3" fmla="*/ 3223755 h 3225964"/>
              <a:gd name="connsiteX4" fmla="*/ 0 w 12242966"/>
              <a:gd name="connsiteY4" fmla="*/ 3225964 h 3225964"/>
              <a:gd name="connsiteX5" fmla="*/ 31202 w 12242966"/>
              <a:gd name="connsiteY5" fmla="*/ 999072 h 3225964"/>
              <a:gd name="connsiteX6" fmla="*/ 8661048 w 12242966"/>
              <a:gd name="connsiteY6" fmla="*/ 0 h 322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2966" h="3225964">
                <a:moveTo>
                  <a:pt x="8661048" y="0"/>
                </a:moveTo>
                <a:lnTo>
                  <a:pt x="8668413" y="2793"/>
                </a:lnTo>
                <a:lnTo>
                  <a:pt x="12242966" y="986819"/>
                </a:lnTo>
                <a:cubicBezTo>
                  <a:pt x="12241347" y="1732464"/>
                  <a:pt x="12239727" y="2478110"/>
                  <a:pt x="12238108" y="3223755"/>
                </a:cubicBezTo>
                <a:lnTo>
                  <a:pt x="0" y="3225964"/>
                </a:lnTo>
                <a:cubicBezTo>
                  <a:pt x="4482" y="2576030"/>
                  <a:pt x="26720" y="1649006"/>
                  <a:pt x="31202" y="999072"/>
                </a:cubicBezTo>
                <a:lnTo>
                  <a:pt x="866104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3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E40139F9-EB1F-F9F1-E49F-1D535FAFD8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962275"/>
            <a:ext cx="5334000" cy="199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5327ED9-0786-E11D-1FF8-DFF2B12412FE}"/>
              </a:ext>
            </a:extLst>
          </p:cNvPr>
          <p:cNvSpPr txBox="1">
            <a:spLocks/>
          </p:cNvSpPr>
          <p:nvPr userDrawn="1"/>
        </p:nvSpPr>
        <p:spPr>
          <a:xfrm>
            <a:off x="1014413" y="6400800"/>
            <a:ext cx="11228387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/>
              <a:t>GILEAD and the GILEAD logo are trademarks of Gilead Sciences, Inc. </a:t>
            </a: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6800" y="4589904"/>
            <a:ext cx="10058400" cy="1001872"/>
          </a:xfrm>
        </p:spPr>
        <p:txBody>
          <a:bodyPr/>
          <a:lstStyle>
            <a:lvl1pPr algn="l">
              <a:lnSpc>
                <a:spcPct val="80000"/>
              </a:lnSpc>
              <a:defRPr sz="4000" b="1" i="0" spc="0" baseline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6800" y="5724557"/>
            <a:ext cx="10058400" cy="463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592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nip Same Side Corner Rectangle 9">
            <a:extLst>
              <a:ext uri="{FF2B5EF4-FFF2-40B4-BE49-F238E27FC236}">
                <a16:creationId xmlns:a16="http://schemas.microsoft.com/office/drawing/2014/main" id="{09853D35-3EBA-4E4B-D1C7-C1D4D0B5EFB5}"/>
              </a:ext>
            </a:extLst>
          </p:cNvPr>
          <p:cNvSpPr/>
          <p:nvPr userDrawn="1"/>
        </p:nvSpPr>
        <p:spPr>
          <a:xfrm rot="10800000">
            <a:off x="0" y="0"/>
            <a:ext cx="12242800" cy="3225800"/>
          </a:xfrm>
          <a:custGeom>
            <a:avLst/>
            <a:gdLst>
              <a:gd name="connsiteX0" fmla="*/ 1143023 w 12219709"/>
              <a:gd name="connsiteY0" fmla="*/ 0 h 6858000"/>
              <a:gd name="connsiteX1" fmla="*/ 11076686 w 12219709"/>
              <a:gd name="connsiteY1" fmla="*/ 0 h 6858000"/>
              <a:gd name="connsiteX2" fmla="*/ 12219709 w 12219709"/>
              <a:gd name="connsiteY2" fmla="*/ 1143023 h 6858000"/>
              <a:gd name="connsiteX3" fmla="*/ 12219709 w 12219709"/>
              <a:gd name="connsiteY3" fmla="*/ 6858000 h 6858000"/>
              <a:gd name="connsiteX4" fmla="*/ 12219709 w 12219709"/>
              <a:gd name="connsiteY4" fmla="*/ 6858000 h 6858000"/>
              <a:gd name="connsiteX5" fmla="*/ 0 w 12219709"/>
              <a:gd name="connsiteY5" fmla="*/ 6858000 h 6858000"/>
              <a:gd name="connsiteX6" fmla="*/ 0 w 12219709"/>
              <a:gd name="connsiteY6" fmla="*/ 6858000 h 6858000"/>
              <a:gd name="connsiteX7" fmla="*/ 0 w 12219709"/>
              <a:gd name="connsiteY7" fmla="*/ 1143023 h 6858000"/>
              <a:gd name="connsiteX8" fmla="*/ 1143023 w 12219709"/>
              <a:gd name="connsiteY8" fmla="*/ 0 h 6858000"/>
              <a:gd name="connsiteX0" fmla="*/ 1143023 w 12219709"/>
              <a:gd name="connsiteY0" fmla="*/ 9236 h 6867236"/>
              <a:gd name="connsiteX1" fmla="*/ 9589632 w 12219709"/>
              <a:gd name="connsiteY1" fmla="*/ 0 h 6867236"/>
              <a:gd name="connsiteX2" fmla="*/ 12219709 w 12219709"/>
              <a:gd name="connsiteY2" fmla="*/ 1152259 h 6867236"/>
              <a:gd name="connsiteX3" fmla="*/ 12219709 w 12219709"/>
              <a:gd name="connsiteY3" fmla="*/ 6867236 h 6867236"/>
              <a:gd name="connsiteX4" fmla="*/ 12219709 w 12219709"/>
              <a:gd name="connsiteY4" fmla="*/ 6867236 h 6867236"/>
              <a:gd name="connsiteX5" fmla="*/ 0 w 12219709"/>
              <a:gd name="connsiteY5" fmla="*/ 6867236 h 6867236"/>
              <a:gd name="connsiteX6" fmla="*/ 0 w 12219709"/>
              <a:gd name="connsiteY6" fmla="*/ 6867236 h 6867236"/>
              <a:gd name="connsiteX7" fmla="*/ 0 w 12219709"/>
              <a:gd name="connsiteY7" fmla="*/ 1152259 h 6867236"/>
              <a:gd name="connsiteX8" fmla="*/ 1143023 w 12219709"/>
              <a:gd name="connsiteY8" fmla="*/ 9236 h 6867236"/>
              <a:gd name="connsiteX0" fmla="*/ 9594296 w 12219709"/>
              <a:gd name="connsiteY0" fmla="*/ 0 h 6885709"/>
              <a:gd name="connsiteX1" fmla="*/ 9589632 w 12219709"/>
              <a:gd name="connsiteY1" fmla="*/ 18473 h 6885709"/>
              <a:gd name="connsiteX2" fmla="*/ 12219709 w 12219709"/>
              <a:gd name="connsiteY2" fmla="*/ 1170732 h 6885709"/>
              <a:gd name="connsiteX3" fmla="*/ 12219709 w 12219709"/>
              <a:gd name="connsiteY3" fmla="*/ 6885709 h 6885709"/>
              <a:gd name="connsiteX4" fmla="*/ 12219709 w 12219709"/>
              <a:gd name="connsiteY4" fmla="*/ 6885709 h 6885709"/>
              <a:gd name="connsiteX5" fmla="*/ 0 w 12219709"/>
              <a:gd name="connsiteY5" fmla="*/ 6885709 h 6885709"/>
              <a:gd name="connsiteX6" fmla="*/ 0 w 12219709"/>
              <a:gd name="connsiteY6" fmla="*/ 6885709 h 6885709"/>
              <a:gd name="connsiteX7" fmla="*/ 0 w 12219709"/>
              <a:gd name="connsiteY7" fmla="*/ 1170732 h 6885709"/>
              <a:gd name="connsiteX8" fmla="*/ 9594296 w 12219709"/>
              <a:gd name="connsiteY8" fmla="*/ 0 h 6885709"/>
              <a:gd name="connsiteX0" fmla="*/ 8624478 w 12219709"/>
              <a:gd name="connsiteY0" fmla="*/ 0 h 6876473"/>
              <a:gd name="connsiteX1" fmla="*/ 9589632 w 12219709"/>
              <a:gd name="connsiteY1" fmla="*/ 9237 h 6876473"/>
              <a:gd name="connsiteX2" fmla="*/ 12219709 w 12219709"/>
              <a:gd name="connsiteY2" fmla="*/ 1161496 h 6876473"/>
              <a:gd name="connsiteX3" fmla="*/ 12219709 w 12219709"/>
              <a:gd name="connsiteY3" fmla="*/ 6876473 h 6876473"/>
              <a:gd name="connsiteX4" fmla="*/ 12219709 w 12219709"/>
              <a:gd name="connsiteY4" fmla="*/ 6876473 h 6876473"/>
              <a:gd name="connsiteX5" fmla="*/ 0 w 12219709"/>
              <a:gd name="connsiteY5" fmla="*/ 6876473 h 6876473"/>
              <a:gd name="connsiteX6" fmla="*/ 0 w 12219709"/>
              <a:gd name="connsiteY6" fmla="*/ 6876473 h 6876473"/>
              <a:gd name="connsiteX7" fmla="*/ 0 w 12219709"/>
              <a:gd name="connsiteY7" fmla="*/ 1161496 h 6876473"/>
              <a:gd name="connsiteX8" fmla="*/ 8624478 w 12219709"/>
              <a:gd name="connsiteY8" fmla="*/ 0 h 6876473"/>
              <a:gd name="connsiteX0" fmla="*/ 8624478 w 12219709"/>
              <a:gd name="connsiteY0" fmla="*/ 18472 h 6894945"/>
              <a:gd name="connsiteX1" fmla="*/ 8610578 w 12219709"/>
              <a:gd name="connsiteY1" fmla="*/ 0 h 6894945"/>
              <a:gd name="connsiteX2" fmla="*/ 12219709 w 12219709"/>
              <a:gd name="connsiteY2" fmla="*/ 1179968 h 6894945"/>
              <a:gd name="connsiteX3" fmla="*/ 12219709 w 12219709"/>
              <a:gd name="connsiteY3" fmla="*/ 6894945 h 6894945"/>
              <a:gd name="connsiteX4" fmla="*/ 12219709 w 12219709"/>
              <a:gd name="connsiteY4" fmla="*/ 6894945 h 6894945"/>
              <a:gd name="connsiteX5" fmla="*/ 0 w 12219709"/>
              <a:gd name="connsiteY5" fmla="*/ 6894945 h 6894945"/>
              <a:gd name="connsiteX6" fmla="*/ 0 w 12219709"/>
              <a:gd name="connsiteY6" fmla="*/ 6894945 h 6894945"/>
              <a:gd name="connsiteX7" fmla="*/ 0 w 12219709"/>
              <a:gd name="connsiteY7" fmla="*/ 1179968 h 6894945"/>
              <a:gd name="connsiteX8" fmla="*/ 8624478 w 12219709"/>
              <a:gd name="connsiteY8" fmla="*/ 18472 h 6894945"/>
              <a:gd name="connsiteX0" fmla="*/ 8603213 w 12219709"/>
              <a:gd name="connsiteY0" fmla="*/ 0 h 6897738"/>
              <a:gd name="connsiteX1" fmla="*/ 8610578 w 12219709"/>
              <a:gd name="connsiteY1" fmla="*/ 2793 h 6897738"/>
              <a:gd name="connsiteX2" fmla="*/ 12219709 w 12219709"/>
              <a:gd name="connsiteY2" fmla="*/ 1182761 h 6897738"/>
              <a:gd name="connsiteX3" fmla="*/ 12219709 w 12219709"/>
              <a:gd name="connsiteY3" fmla="*/ 6897738 h 6897738"/>
              <a:gd name="connsiteX4" fmla="*/ 12219709 w 12219709"/>
              <a:gd name="connsiteY4" fmla="*/ 6897738 h 6897738"/>
              <a:gd name="connsiteX5" fmla="*/ 0 w 12219709"/>
              <a:gd name="connsiteY5" fmla="*/ 6897738 h 6897738"/>
              <a:gd name="connsiteX6" fmla="*/ 0 w 12219709"/>
              <a:gd name="connsiteY6" fmla="*/ 6897738 h 6897738"/>
              <a:gd name="connsiteX7" fmla="*/ 0 w 12219709"/>
              <a:gd name="connsiteY7" fmla="*/ 1182761 h 6897738"/>
              <a:gd name="connsiteX8" fmla="*/ 8603213 w 12219709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0 w 12246603"/>
              <a:gd name="connsiteY5" fmla="*/ 6897738 h 6897738"/>
              <a:gd name="connsiteX6" fmla="*/ 0 w 12246603"/>
              <a:gd name="connsiteY6" fmla="*/ 6897738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0 w 12246603"/>
              <a:gd name="connsiteY5" fmla="*/ 6897738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40341 w 12246603"/>
              <a:gd name="connsiteY5" fmla="*/ 5001703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03213 w 12246603"/>
              <a:gd name="connsiteY0" fmla="*/ 0 h 6897738"/>
              <a:gd name="connsiteX1" fmla="*/ 8610578 w 12246603"/>
              <a:gd name="connsiteY1" fmla="*/ 2793 h 6897738"/>
              <a:gd name="connsiteX2" fmla="*/ 12219709 w 12246603"/>
              <a:gd name="connsiteY2" fmla="*/ 1182761 h 6897738"/>
              <a:gd name="connsiteX3" fmla="*/ 12219709 w 12246603"/>
              <a:gd name="connsiteY3" fmla="*/ 6897738 h 6897738"/>
              <a:gd name="connsiteX4" fmla="*/ 12246603 w 12246603"/>
              <a:gd name="connsiteY4" fmla="*/ 4557950 h 6897738"/>
              <a:gd name="connsiteX5" fmla="*/ 26894 w 12246603"/>
              <a:gd name="connsiteY5" fmla="*/ 3293926 h 6897738"/>
              <a:gd name="connsiteX6" fmla="*/ 40341 w 12246603"/>
              <a:gd name="connsiteY6" fmla="*/ 4463820 h 6897738"/>
              <a:gd name="connsiteX7" fmla="*/ 0 w 12246603"/>
              <a:gd name="connsiteY7" fmla="*/ 1182761 h 6897738"/>
              <a:gd name="connsiteX8" fmla="*/ 8603213 w 12246603"/>
              <a:gd name="connsiteY8" fmla="*/ 0 h 6897738"/>
              <a:gd name="connsiteX0" fmla="*/ 8616660 w 12260050"/>
              <a:gd name="connsiteY0" fmla="*/ 0 h 6897738"/>
              <a:gd name="connsiteX1" fmla="*/ 8624025 w 12260050"/>
              <a:gd name="connsiteY1" fmla="*/ 2793 h 6897738"/>
              <a:gd name="connsiteX2" fmla="*/ 12233156 w 12260050"/>
              <a:gd name="connsiteY2" fmla="*/ 1182761 h 6897738"/>
              <a:gd name="connsiteX3" fmla="*/ 12233156 w 12260050"/>
              <a:gd name="connsiteY3" fmla="*/ 6897738 h 6897738"/>
              <a:gd name="connsiteX4" fmla="*/ 12260050 w 12260050"/>
              <a:gd name="connsiteY4" fmla="*/ 4557950 h 6897738"/>
              <a:gd name="connsiteX5" fmla="*/ 40341 w 12260050"/>
              <a:gd name="connsiteY5" fmla="*/ 3293926 h 6897738"/>
              <a:gd name="connsiteX6" fmla="*/ 0 w 12260050"/>
              <a:gd name="connsiteY6" fmla="*/ 3132562 h 6897738"/>
              <a:gd name="connsiteX7" fmla="*/ 13447 w 12260050"/>
              <a:gd name="connsiteY7" fmla="*/ 1182761 h 6897738"/>
              <a:gd name="connsiteX8" fmla="*/ 8616660 w 12260050"/>
              <a:gd name="connsiteY8" fmla="*/ 0 h 6897738"/>
              <a:gd name="connsiteX0" fmla="*/ 8616660 w 12260050"/>
              <a:gd name="connsiteY0" fmla="*/ 0 h 4557950"/>
              <a:gd name="connsiteX1" fmla="*/ 8624025 w 12260050"/>
              <a:gd name="connsiteY1" fmla="*/ 2793 h 4557950"/>
              <a:gd name="connsiteX2" fmla="*/ 12233156 w 12260050"/>
              <a:gd name="connsiteY2" fmla="*/ 1182761 h 4557950"/>
              <a:gd name="connsiteX3" fmla="*/ 12233156 w 12260050"/>
              <a:gd name="connsiteY3" fmla="*/ 3334268 h 4557950"/>
              <a:gd name="connsiteX4" fmla="*/ 12260050 w 12260050"/>
              <a:gd name="connsiteY4" fmla="*/ 4557950 h 4557950"/>
              <a:gd name="connsiteX5" fmla="*/ 40341 w 12260050"/>
              <a:gd name="connsiteY5" fmla="*/ 3293926 h 4557950"/>
              <a:gd name="connsiteX6" fmla="*/ 0 w 12260050"/>
              <a:gd name="connsiteY6" fmla="*/ 3132562 h 4557950"/>
              <a:gd name="connsiteX7" fmla="*/ 13447 w 12260050"/>
              <a:gd name="connsiteY7" fmla="*/ 1182761 h 4557950"/>
              <a:gd name="connsiteX8" fmla="*/ 8616660 w 12260050"/>
              <a:gd name="connsiteY8" fmla="*/ 0 h 4557950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33156 w 12260050"/>
              <a:gd name="connsiteY2" fmla="*/ 1182761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182761 h 3441844"/>
              <a:gd name="connsiteX8" fmla="*/ 8616660 w 12260050"/>
              <a:gd name="connsiteY8" fmla="*/ 0 h 3441844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60050 w 12260050"/>
              <a:gd name="connsiteY2" fmla="*/ 994503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182761 h 3441844"/>
              <a:gd name="connsiteX8" fmla="*/ 8616660 w 12260050"/>
              <a:gd name="connsiteY8" fmla="*/ 0 h 3441844"/>
              <a:gd name="connsiteX0" fmla="*/ 8616660 w 12260050"/>
              <a:gd name="connsiteY0" fmla="*/ 0 h 3441844"/>
              <a:gd name="connsiteX1" fmla="*/ 8624025 w 12260050"/>
              <a:gd name="connsiteY1" fmla="*/ 2793 h 3441844"/>
              <a:gd name="connsiteX2" fmla="*/ 12260050 w 12260050"/>
              <a:gd name="connsiteY2" fmla="*/ 994503 h 3441844"/>
              <a:gd name="connsiteX3" fmla="*/ 12233156 w 12260050"/>
              <a:gd name="connsiteY3" fmla="*/ 3334268 h 3441844"/>
              <a:gd name="connsiteX4" fmla="*/ 12260050 w 12260050"/>
              <a:gd name="connsiteY4" fmla="*/ 3441844 h 3441844"/>
              <a:gd name="connsiteX5" fmla="*/ 40341 w 12260050"/>
              <a:gd name="connsiteY5" fmla="*/ 3293926 h 3441844"/>
              <a:gd name="connsiteX6" fmla="*/ 0 w 12260050"/>
              <a:gd name="connsiteY6" fmla="*/ 3132562 h 3441844"/>
              <a:gd name="connsiteX7" fmla="*/ 13447 w 12260050"/>
              <a:gd name="connsiteY7" fmla="*/ 1007950 h 3441844"/>
              <a:gd name="connsiteX8" fmla="*/ 8616660 w 12260050"/>
              <a:gd name="connsiteY8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40341 w 12313838"/>
              <a:gd name="connsiteY5" fmla="*/ 3293926 h 3441844"/>
              <a:gd name="connsiteX6" fmla="*/ 0 w 12313838"/>
              <a:gd name="connsiteY6" fmla="*/ 3132562 h 3441844"/>
              <a:gd name="connsiteX7" fmla="*/ 13447 w 12313838"/>
              <a:gd name="connsiteY7" fmla="*/ 1007950 h 3441844"/>
              <a:gd name="connsiteX8" fmla="*/ 8616660 w 12313838"/>
              <a:gd name="connsiteY8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0 w 12313838"/>
              <a:gd name="connsiteY5" fmla="*/ 3132562 h 3441844"/>
              <a:gd name="connsiteX6" fmla="*/ 13447 w 12313838"/>
              <a:gd name="connsiteY6" fmla="*/ 1007950 h 3441844"/>
              <a:gd name="connsiteX7" fmla="*/ 8616660 w 12313838"/>
              <a:gd name="connsiteY7" fmla="*/ 0 h 3441844"/>
              <a:gd name="connsiteX0" fmla="*/ 8616660 w 12313838"/>
              <a:gd name="connsiteY0" fmla="*/ 0 h 3441844"/>
              <a:gd name="connsiteX1" fmla="*/ 8624025 w 12313838"/>
              <a:gd name="connsiteY1" fmla="*/ 2793 h 3441844"/>
              <a:gd name="connsiteX2" fmla="*/ 12260050 w 12313838"/>
              <a:gd name="connsiteY2" fmla="*/ 994503 h 3441844"/>
              <a:gd name="connsiteX3" fmla="*/ 12313838 w 12313838"/>
              <a:gd name="connsiteY3" fmla="*/ 3320821 h 3441844"/>
              <a:gd name="connsiteX4" fmla="*/ 12260050 w 12313838"/>
              <a:gd name="connsiteY4" fmla="*/ 3441844 h 3441844"/>
              <a:gd name="connsiteX5" fmla="*/ 0 w 12313838"/>
              <a:gd name="connsiteY5" fmla="*/ 3217086 h 3441844"/>
              <a:gd name="connsiteX6" fmla="*/ 13447 w 12313838"/>
              <a:gd name="connsiteY6" fmla="*/ 1007950 h 3441844"/>
              <a:gd name="connsiteX7" fmla="*/ 8616660 w 12313838"/>
              <a:gd name="connsiteY7" fmla="*/ 0 h 3441844"/>
              <a:gd name="connsiteX0" fmla="*/ 8616660 w 12313838"/>
              <a:gd name="connsiteY0" fmla="*/ 0 h 3320821"/>
              <a:gd name="connsiteX1" fmla="*/ 8624025 w 12313838"/>
              <a:gd name="connsiteY1" fmla="*/ 2793 h 3320821"/>
              <a:gd name="connsiteX2" fmla="*/ 12260050 w 12313838"/>
              <a:gd name="connsiteY2" fmla="*/ 994503 h 3320821"/>
              <a:gd name="connsiteX3" fmla="*/ 12313838 w 12313838"/>
              <a:gd name="connsiteY3" fmla="*/ 3320821 h 3320821"/>
              <a:gd name="connsiteX4" fmla="*/ 0 w 12313838"/>
              <a:gd name="connsiteY4" fmla="*/ 3217086 h 3320821"/>
              <a:gd name="connsiteX5" fmla="*/ 13447 w 12313838"/>
              <a:gd name="connsiteY5" fmla="*/ 1007950 h 3320821"/>
              <a:gd name="connsiteX6" fmla="*/ 8616660 w 12313838"/>
              <a:gd name="connsiteY6" fmla="*/ 0 h 3320821"/>
              <a:gd name="connsiteX0" fmla="*/ 8616660 w 12260050"/>
              <a:gd name="connsiteY0" fmla="*/ 0 h 3236297"/>
              <a:gd name="connsiteX1" fmla="*/ 8624025 w 12260050"/>
              <a:gd name="connsiteY1" fmla="*/ 2793 h 3236297"/>
              <a:gd name="connsiteX2" fmla="*/ 12260050 w 12260050"/>
              <a:gd name="connsiteY2" fmla="*/ 994503 h 3236297"/>
              <a:gd name="connsiteX3" fmla="*/ 12190893 w 12260050"/>
              <a:gd name="connsiteY3" fmla="*/ 3236297 h 3236297"/>
              <a:gd name="connsiteX4" fmla="*/ 0 w 12260050"/>
              <a:gd name="connsiteY4" fmla="*/ 3217086 h 3236297"/>
              <a:gd name="connsiteX5" fmla="*/ 13447 w 12260050"/>
              <a:gd name="connsiteY5" fmla="*/ 1007950 h 3236297"/>
              <a:gd name="connsiteX6" fmla="*/ 8616660 w 12260050"/>
              <a:gd name="connsiteY6" fmla="*/ 0 h 3236297"/>
              <a:gd name="connsiteX0" fmla="*/ 8616660 w 12260050"/>
              <a:gd name="connsiteY0" fmla="*/ 0 h 3217086"/>
              <a:gd name="connsiteX1" fmla="*/ 8624025 w 12260050"/>
              <a:gd name="connsiteY1" fmla="*/ 2793 h 3217086"/>
              <a:gd name="connsiteX2" fmla="*/ 12260050 w 12260050"/>
              <a:gd name="connsiteY2" fmla="*/ 994503 h 3217086"/>
              <a:gd name="connsiteX3" fmla="*/ 11745219 w 12260050"/>
              <a:gd name="connsiteY3" fmla="*/ 2951988 h 3217086"/>
              <a:gd name="connsiteX4" fmla="*/ 0 w 12260050"/>
              <a:gd name="connsiteY4" fmla="*/ 3217086 h 3217086"/>
              <a:gd name="connsiteX5" fmla="*/ 13447 w 12260050"/>
              <a:gd name="connsiteY5" fmla="*/ 1007950 h 3217086"/>
              <a:gd name="connsiteX6" fmla="*/ 8616660 w 12260050"/>
              <a:gd name="connsiteY6" fmla="*/ 0 h 3217086"/>
              <a:gd name="connsiteX0" fmla="*/ 8616660 w 12260050"/>
              <a:gd name="connsiteY0" fmla="*/ 0 h 3217086"/>
              <a:gd name="connsiteX1" fmla="*/ 8624025 w 12260050"/>
              <a:gd name="connsiteY1" fmla="*/ 2793 h 3217086"/>
              <a:gd name="connsiteX2" fmla="*/ 12260050 w 12260050"/>
              <a:gd name="connsiteY2" fmla="*/ 994503 h 3217086"/>
              <a:gd name="connsiteX3" fmla="*/ 12183209 w 12260050"/>
              <a:gd name="connsiteY3" fmla="*/ 3213245 h 3217086"/>
              <a:gd name="connsiteX4" fmla="*/ 0 w 12260050"/>
              <a:gd name="connsiteY4" fmla="*/ 3217086 h 3217086"/>
              <a:gd name="connsiteX5" fmla="*/ 13447 w 12260050"/>
              <a:gd name="connsiteY5" fmla="*/ 1007950 h 3217086"/>
              <a:gd name="connsiteX6" fmla="*/ 8616660 w 12260050"/>
              <a:gd name="connsiteY6" fmla="*/ 0 h 3217086"/>
              <a:gd name="connsiteX0" fmla="*/ 8616660 w 12198578"/>
              <a:gd name="connsiteY0" fmla="*/ 0 h 3217086"/>
              <a:gd name="connsiteX1" fmla="*/ 8624025 w 12198578"/>
              <a:gd name="connsiteY1" fmla="*/ 2793 h 3217086"/>
              <a:gd name="connsiteX2" fmla="*/ 12198578 w 12198578"/>
              <a:gd name="connsiteY2" fmla="*/ 986819 h 3217086"/>
              <a:gd name="connsiteX3" fmla="*/ 12183209 w 12198578"/>
              <a:gd name="connsiteY3" fmla="*/ 3213245 h 3217086"/>
              <a:gd name="connsiteX4" fmla="*/ 0 w 12198578"/>
              <a:gd name="connsiteY4" fmla="*/ 3217086 h 3217086"/>
              <a:gd name="connsiteX5" fmla="*/ 13447 w 12198578"/>
              <a:gd name="connsiteY5" fmla="*/ 1007950 h 3217086"/>
              <a:gd name="connsiteX6" fmla="*/ 8616660 w 12198578"/>
              <a:gd name="connsiteY6" fmla="*/ 0 h 3217086"/>
              <a:gd name="connsiteX0" fmla="*/ 8616660 w 12198578"/>
              <a:gd name="connsiteY0" fmla="*/ 0 h 3223755"/>
              <a:gd name="connsiteX1" fmla="*/ 8624025 w 12198578"/>
              <a:gd name="connsiteY1" fmla="*/ 2793 h 3223755"/>
              <a:gd name="connsiteX2" fmla="*/ 12198578 w 12198578"/>
              <a:gd name="connsiteY2" fmla="*/ 986819 h 3223755"/>
              <a:gd name="connsiteX3" fmla="*/ 12193720 w 12198578"/>
              <a:gd name="connsiteY3" fmla="*/ 3223755 h 3223755"/>
              <a:gd name="connsiteX4" fmla="*/ 0 w 12198578"/>
              <a:gd name="connsiteY4" fmla="*/ 3217086 h 3223755"/>
              <a:gd name="connsiteX5" fmla="*/ 13447 w 12198578"/>
              <a:gd name="connsiteY5" fmla="*/ 1007950 h 3223755"/>
              <a:gd name="connsiteX6" fmla="*/ 8616660 w 12198578"/>
              <a:gd name="connsiteY6" fmla="*/ 0 h 3223755"/>
              <a:gd name="connsiteX0" fmla="*/ 8661048 w 12242966"/>
              <a:gd name="connsiteY0" fmla="*/ 0 h 3225964"/>
              <a:gd name="connsiteX1" fmla="*/ 8668413 w 12242966"/>
              <a:gd name="connsiteY1" fmla="*/ 2793 h 3225964"/>
              <a:gd name="connsiteX2" fmla="*/ 12242966 w 12242966"/>
              <a:gd name="connsiteY2" fmla="*/ 986819 h 3225964"/>
              <a:gd name="connsiteX3" fmla="*/ 12238108 w 12242966"/>
              <a:gd name="connsiteY3" fmla="*/ 3223755 h 3225964"/>
              <a:gd name="connsiteX4" fmla="*/ 0 w 12242966"/>
              <a:gd name="connsiteY4" fmla="*/ 3225964 h 3225964"/>
              <a:gd name="connsiteX5" fmla="*/ 57835 w 12242966"/>
              <a:gd name="connsiteY5" fmla="*/ 1007950 h 3225964"/>
              <a:gd name="connsiteX6" fmla="*/ 8661048 w 12242966"/>
              <a:gd name="connsiteY6" fmla="*/ 0 h 3225964"/>
              <a:gd name="connsiteX0" fmla="*/ 8661048 w 12242966"/>
              <a:gd name="connsiteY0" fmla="*/ 0 h 3225964"/>
              <a:gd name="connsiteX1" fmla="*/ 8668413 w 12242966"/>
              <a:gd name="connsiteY1" fmla="*/ 2793 h 3225964"/>
              <a:gd name="connsiteX2" fmla="*/ 12242966 w 12242966"/>
              <a:gd name="connsiteY2" fmla="*/ 986819 h 3225964"/>
              <a:gd name="connsiteX3" fmla="*/ 12238108 w 12242966"/>
              <a:gd name="connsiteY3" fmla="*/ 3223755 h 3225964"/>
              <a:gd name="connsiteX4" fmla="*/ 0 w 12242966"/>
              <a:gd name="connsiteY4" fmla="*/ 3225964 h 3225964"/>
              <a:gd name="connsiteX5" fmla="*/ 31202 w 12242966"/>
              <a:gd name="connsiteY5" fmla="*/ 999072 h 3225964"/>
              <a:gd name="connsiteX6" fmla="*/ 8661048 w 12242966"/>
              <a:gd name="connsiteY6" fmla="*/ 0 h 322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2966" h="3225964">
                <a:moveTo>
                  <a:pt x="8661048" y="0"/>
                </a:moveTo>
                <a:lnTo>
                  <a:pt x="8668413" y="2793"/>
                </a:lnTo>
                <a:lnTo>
                  <a:pt x="12242966" y="986819"/>
                </a:lnTo>
                <a:cubicBezTo>
                  <a:pt x="12241347" y="1732464"/>
                  <a:pt x="12239727" y="2478110"/>
                  <a:pt x="12238108" y="3223755"/>
                </a:cubicBezTo>
                <a:lnTo>
                  <a:pt x="0" y="3225964"/>
                </a:lnTo>
                <a:cubicBezTo>
                  <a:pt x="4482" y="2576030"/>
                  <a:pt x="26720" y="1649006"/>
                  <a:pt x="31202" y="999072"/>
                </a:cubicBezTo>
                <a:lnTo>
                  <a:pt x="866104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26F1AED-40F5-AAE2-F2A7-DE0DDDB3605D}"/>
              </a:ext>
            </a:extLst>
          </p:cNvPr>
          <p:cNvSpPr txBox="1">
            <a:spLocks/>
          </p:cNvSpPr>
          <p:nvPr userDrawn="1"/>
        </p:nvSpPr>
        <p:spPr>
          <a:xfrm>
            <a:off x="1014413" y="6400800"/>
            <a:ext cx="11228387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/>
              <a:t>GILEAD and the GILEAD logo are trademarks of Gilead Sciences, Inc. </a:t>
            </a:r>
            <a:endParaRPr lang="en-US"/>
          </a:p>
        </p:txBody>
      </p:sp>
      <p:pic>
        <p:nvPicPr>
          <p:cNvPr id="4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FEEFA93-45D4-1458-80D2-E664BF2C07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962275"/>
            <a:ext cx="5334000" cy="199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066800" y="4589904"/>
            <a:ext cx="10058400" cy="1001872"/>
          </a:xfrm>
        </p:spPr>
        <p:txBody>
          <a:bodyPr/>
          <a:lstStyle>
            <a:lvl1pPr algn="l">
              <a:lnSpc>
                <a:spcPct val="80000"/>
              </a:lnSpc>
              <a:defRPr sz="4000" b="1" i="0" spc="0" baseline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6800" y="5724557"/>
            <a:ext cx="10058400" cy="463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76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Ad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0974344C-8EED-DC84-4C1F-6C6580E94F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962275"/>
            <a:ext cx="5334000" cy="199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ACD1A0C-745F-13EB-3622-62896F70BBD8}"/>
              </a:ext>
            </a:extLst>
          </p:cNvPr>
          <p:cNvSpPr txBox="1">
            <a:spLocks/>
          </p:cNvSpPr>
          <p:nvPr userDrawn="1"/>
        </p:nvSpPr>
        <p:spPr>
          <a:xfrm>
            <a:off x="1014413" y="6400800"/>
            <a:ext cx="11228387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/>
              <a:t>GILEAD and the GILEAD logo are trademarks of Gilead Sciences, Inc. 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4589904"/>
            <a:ext cx="10058400" cy="1001872"/>
          </a:xfrm>
        </p:spPr>
        <p:txBody>
          <a:bodyPr/>
          <a:lstStyle>
            <a:lvl1pPr algn="l">
              <a:lnSpc>
                <a:spcPct val="80000"/>
              </a:lnSpc>
              <a:defRPr sz="4000" b="1" i="0" spc="0" baseline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5724557"/>
            <a:ext cx="10058400" cy="463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tx1"/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12189" y="-32658"/>
            <a:ext cx="12225688" cy="3222347"/>
          </a:xfrm>
          <a:custGeom>
            <a:avLst/>
            <a:gdLst>
              <a:gd name="connsiteX0" fmla="*/ 0 w 12191998"/>
              <a:gd name="connsiteY0" fmla="*/ 0 h 6858000"/>
              <a:gd name="connsiteX1" fmla="*/ 11048975 w 12191998"/>
              <a:gd name="connsiteY1" fmla="*/ 0 h 6858000"/>
              <a:gd name="connsiteX2" fmla="*/ 12191998 w 12191998"/>
              <a:gd name="connsiteY2" fmla="*/ 1143023 h 6858000"/>
              <a:gd name="connsiteX3" fmla="*/ 12191998 w 12191998"/>
              <a:gd name="connsiteY3" fmla="*/ 6858000 h 6858000"/>
              <a:gd name="connsiteX4" fmla="*/ 0 w 12191998"/>
              <a:gd name="connsiteY4" fmla="*/ 6858000 h 6858000"/>
              <a:gd name="connsiteX5" fmla="*/ 0 w 12191998"/>
              <a:gd name="connsiteY5" fmla="*/ 0 h 6858000"/>
              <a:gd name="connsiteX0" fmla="*/ 0 w 12195023"/>
              <a:gd name="connsiteY0" fmla="*/ 12192 h 6870192"/>
              <a:gd name="connsiteX1" fmla="*/ 12195023 w 12195023"/>
              <a:gd name="connsiteY1" fmla="*/ 0 h 6870192"/>
              <a:gd name="connsiteX2" fmla="*/ 12191998 w 12195023"/>
              <a:gd name="connsiteY2" fmla="*/ 1155215 h 6870192"/>
              <a:gd name="connsiteX3" fmla="*/ 12191998 w 12195023"/>
              <a:gd name="connsiteY3" fmla="*/ 6870192 h 6870192"/>
              <a:gd name="connsiteX4" fmla="*/ 0 w 12195023"/>
              <a:gd name="connsiteY4" fmla="*/ 6870192 h 6870192"/>
              <a:gd name="connsiteX5" fmla="*/ 0 w 12195023"/>
              <a:gd name="connsiteY5" fmla="*/ 12192 h 6870192"/>
              <a:gd name="connsiteX0" fmla="*/ 0 w 12195023"/>
              <a:gd name="connsiteY0" fmla="*/ 12192 h 6870192"/>
              <a:gd name="connsiteX1" fmla="*/ 12195023 w 12195023"/>
              <a:gd name="connsiteY1" fmla="*/ 0 h 6870192"/>
              <a:gd name="connsiteX2" fmla="*/ 12191998 w 12195023"/>
              <a:gd name="connsiteY2" fmla="*/ 1155215 h 6870192"/>
              <a:gd name="connsiteX3" fmla="*/ 5974078 w 12195023"/>
              <a:gd name="connsiteY3" fmla="*/ 6870192 h 6870192"/>
              <a:gd name="connsiteX4" fmla="*/ 0 w 12195023"/>
              <a:gd name="connsiteY4" fmla="*/ 6870192 h 6870192"/>
              <a:gd name="connsiteX5" fmla="*/ 0 w 12195023"/>
              <a:gd name="connsiteY5" fmla="*/ 12192 h 6870192"/>
              <a:gd name="connsiteX0" fmla="*/ 0 w 12204254"/>
              <a:gd name="connsiteY0" fmla="*/ 12192 h 6870192"/>
              <a:gd name="connsiteX1" fmla="*/ 12195023 w 12204254"/>
              <a:gd name="connsiteY1" fmla="*/ 0 h 6870192"/>
              <a:gd name="connsiteX2" fmla="*/ 12204190 w 12204254"/>
              <a:gd name="connsiteY2" fmla="*/ 5702831 h 6870192"/>
              <a:gd name="connsiteX3" fmla="*/ 5974078 w 12204254"/>
              <a:gd name="connsiteY3" fmla="*/ 6870192 h 6870192"/>
              <a:gd name="connsiteX4" fmla="*/ 0 w 12204254"/>
              <a:gd name="connsiteY4" fmla="*/ 6870192 h 6870192"/>
              <a:gd name="connsiteX5" fmla="*/ 0 w 12204254"/>
              <a:gd name="connsiteY5" fmla="*/ 12192 h 6870192"/>
              <a:gd name="connsiteX0" fmla="*/ 0 w 12204254"/>
              <a:gd name="connsiteY0" fmla="*/ 12192 h 6894576"/>
              <a:gd name="connsiteX1" fmla="*/ 12195023 w 12204254"/>
              <a:gd name="connsiteY1" fmla="*/ 0 h 6894576"/>
              <a:gd name="connsiteX2" fmla="*/ 12204190 w 12204254"/>
              <a:gd name="connsiteY2" fmla="*/ 5702831 h 6894576"/>
              <a:gd name="connsiteX3" fmla="*/ 3572254 w 12204254"/>
              <a:gd name="connsiteY3" fmla="*/ 6894576 h 6894576"/>
              <a:gd name="connsiteX4" fmla="*/ 0 w 12204254"/>
              <a:gd name="connsiteY4" fmla="*/ 6870192 h 6894576"/>
              <a:gd name="connsiteX5" fmla="*/ 0 w 12204254"/>
              <a:gd name="connsiteY5" fmla="*/ 12192 h 6894576"/>
              <a:gd name="connsiteX0" fmla="*/ 12192 w 12216446"/>
              <a:gd name="connsiteY0" fmla="*/ 12192 h 6894576"/>
              <a:gd name="connsiteX1" fmla="*/ 12207215 w 12216446"/>
              <a:gd name="connsiteY1" fmla="*/ 0 h 6894576"/>
              <a:gd name="connsiteX2" fmla="*/ 12216382 w 12216446"/>
              <a:gd name="connsiteY2" fmla="*/ 5702831 h 6894576"/>
              <a:gd name="connsiteX3" fmla="*/ 3584446 w 12216446"/>
              <a:gd name="connsiteY3" fmla="*/ 6894576 h 6894576"/>
              <a:gd name="connsiteX4" fmla="*/ 0 w 12216446"/>
              <a:gd name="connsiteY4" fmla="*/ 5724144 h 6894576"/>
              <a:gd name="connsiteX5" fmla="*/ 12192 w 12216446"/>
              <a:gd name="connsiteY5" fmla="*/ 12192 h 6894576"/>
              <a:gd name="connsiteX0" fmla="*/ 2956 w 12216446"/>
              <a:gd name="connsiteY0" fmla="*/ 1647028 h 6894576"/>
              <a:gd name="connsiteX1" fmla="*/ 12207215 w 12216446"/>
              <a:gd name="connsiteY1" fmla="*/ 0 h 6894576"/>
              <a:gd name="connsiteX2" fmla="*/ 12216382 w 12216446"/>
              <a:gd name="connsiteY2" fmla="*/ 5702831 h 6894576"/>
              <a:gd name="connsiteX3" fmla="*/ 3584446 w 12216446"/>
              <a:gd name="connsiteY3" fmla="*/ 6894576 h 6894576"/>
              <a:gd name="connsiteX4" fmla="*/ 0 w 12216446"/>
              <a:gd name="connsiteY4" fmla="*/ 5724144 h 6894576"/>
              <a:gd name="connsiteX5" fmla="*/ 2956 w 12216446"/>
              <a:gd name="connsiteY5" fmla="*/ 1647028 h 6894576"/>
              <a:gd name="connsiteX0" fmla="*/ 2956 w 12216681"/>
              <a:gd name="connsiteY0" fmla="*/ 0 h 5247548"/>
              <a:gd name="connsiteX1" fmla="*/ 12216452 w 12216681"/>
              <a:gd name="connsiteY1" fmla="*/ 52463 h 5247548"/>
              <a:gd name="connsiteX2" fmla="*/ 12216382 w 12216681"/>
              <a:gd name="connsiteY2" fmla="*/ 4055803 h 5247548"/>
              <a:gd name="connsiteX3" fmla="*/ 3584446 w 12216681"/>
              <a:gd name="connsiteY3" fmla="*/ 5247548 h 5247548"/>
              <a:gd name="connsiteX4" fmla="*/ 0 w 12216681"/>
              <a:gd name="connsiteY4" fmla="*/ 4077116 h 5247548"/>
              <a:gd name="connsiteX5" fmla="*/ 2956 w 12216681"/>
              <a:gd name="connsiteY5" fmla="*/ 0 h 5247548"/>
              <a:gd name="connsiteX0" fmla="*/ 2956 w 12216681"/>
              <a:gd name="connsiteY0" fmla="*/ 0 h 5201367"/>
              <a:gd name="connsiteX1" fmla="*/ 12216452 w 12216681"/>
              <a:gd name="connsiteY1" fmla="*/ 6282 h 5201367"/>
              <a:gd name="connsiteX2" fmla="*/ 12216382 w 12216681"/>
              <a:gd name="connsiteY2" fmla="*/ 4009622 h 5201367"/>
              <a:gd name="connsiteX3" fmla="*/ 3584446 w 12216681"/>
              <a:gd name="connsiteY3" fmla="*/ 5201367 h 5201367"/>
              <a:gd name="connsiteX4" fmla="*/ 0 w 12216681"/>
              <a:gd name="connsiteY4" fmla="*/ 4030935 h 5201367"/>
              <a:gd name="connsiteX5" fmla="*/ 2956 w 12216681"/>
              <a:gd name="connsiteY5" fmla="*/ 0 h 5201367"/>
              <a:gd name="connsiteX0" fmla="*/ 2956 w 12216681"/>
              <a:gd name="connsiteY0" fmla="*/ 1379172 h 5195085"/>
              <a:gd name="connsiteX1" fmla="*/ 12216452 w 12216681"/>
              <a:gd name="connsiteY1" fmla="*/ 0 h 5195085"/>
              <a:gd name="connsiteX2" fmla="*/ 12216382 w 12216681"/>
              <a:gd name="connsiteY2" fmla="*/ 4003340 h 5195085"/>
              <a:gd name="connsiteX3" fmla="*/ 3584446 w 12216681"/>
              <a:gd name="connsiteY3" fmla="*/ 5195085 h 5195085"/>
              <a:gd name="connsiteX4" fmla="*/ 0 w 12216681"/>
              <a:gd name="connsiteY4" fmla="*/ 4024653 h 5195085"/>
              <a:gd name="connsiteX5" fmla="*/ 2956 w 12216681"/>
              <a:gd name="connsiteY5" fmla="*/ 1379172 h 5195085"/>
              <a:gd name="connsiteX0" fmla="*/ 2956 w 12225688"/>
              <a:gd name="connsiteY0" fmla="*/ 67609 h 3883522"/>
              <a:gd name="connsiteX1" fmla="*/ 12225688 w 12225688"/>
              <a:gd name="connsiteY1" fmla="*/ 0 h 3883522"/>
              <a:gd name="connsiteX2" fmla="*/ 12216382 w 12225688"/>
              <a:gd name="connsiteY2" fmla="*/ 2691777 h 3883522"/>
              <a:gd name="connsiteX3" fmla="*/ 3584446 w 12225688"/>
              <a:gd name="connsiteY3" fmla="*/ 3883522 h 3883522"/>
              <a:gd name="connsiteX4" fmla="*/ 0 w 12225688"/>
              <a:gd name="connsiteY4" fmla="*/ 2713090 h 3883522"/>
              <a:gd name="connsiteX5" fmla="*/ 2956 w 12225688"/>
              <a:gd name="connsiteY5" fmla="*/ 67609 h 3883522"/>
              <a:gd name="connsiteX0" fmla="*/ 2956 w 12225688"/>
              <a:gd name="connsiteY0" fmla="*/ 0 h 3899040"/>
              <a:gd name="connsiteX1" fmla="*/ 12225688 w 12225688"/>
              <a:gd name="connsiteY1" fmla="*/ 15518 h 3899040"/>
              <a:gd name="connsiteX2" fmla="*/ 12216382 w 12225688"/>
              <a:gd name="connsiteY2" fmla="*/ 2707295 h 3899040"/>
              <a:gd name="connsiteX3" fmla="*/ 3584446 w 12225688"/>
              <a:gd name="connsiteY3" fmla="*/ 3899040 h 3899040"/>
              <a:gd name="connsiteX4" fmla="*/ 0 w 12225688"/>
              <a:gd name="connsiteY4" fmla="*/ 2728608 h 3899040"/>
              <a:gd name="connsiteX5" fmla="*/ 2956 w 12225688"/>
              <a:gd name="connsiteY5" fmla="*/ 0 h 389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25688" h="3899040">
                <a:moveTo>
                  <a:pt x="2956" y="0"/>
                </a:moveTo>
                <a:lnTo>
                  <a:pt x="12225688" y="15518"/>
                </a:lnTo>
                <a:cubicBezTo>
                  <a:pt x="12224680" y="400590"/>
                  <a:pt x="12217390" y="2322223"/>
                  <a:pt x="12216382" y="2707295"/>
                </a:cubicBezTo>
                <a:lnTo>
                  <a:pt x="3584446" y="3899040"/>
                </a:lnTo>
                <a:lnTo>
                  <a:pt x="0" y="2728608"/>
                </a:lnTo>
                <a:cubicBezTo>
                  <a:pt x="985" y="1369569"/>
                  <a:pt x="1971" y="1359039"/>
                  <a:pt x="295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72068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9130E7AD-1266-6242-B34D-7C49E687E295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-34925" y="-23813"/>
            <a:ext cx="4641850" cy="68976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  <a:gd name="connsiteX0" fmla="*/ 2060448 w 6336060"/>
              <a:gd name="connsiteY0" fmla="*/ 134112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2060448 w 6336060"/>
              <a:gd name="connsiteY5" fmla="*/ 134112 h 6885736"/>
              <a:gd name="connsiteX0" fmla="*/ 1694688 w 6336060"/>
              <a:gd name="connsiteY0" fmla="*/ 0 h 6897928"/>
              <a:gd name="connsiteX1" fmla="*/ 5622382 w 6336060"/>
              <a:gd name="connsiteY1" fmla="*/ 12192 h 6897928"/>
              <a:gd name="connsiteX2" fmla="*/ 6336060 w 6336060"/>
              <a:gd name="connsiteY2" fmla="*/ 2101748 h 6897928"/>
              <a:gd name="connsiteX3" fmla="*/ 5622382 w 6336060"/>
              <a:gd name="connsiteY3" fmla="*/ 6897928 h 6897928"/>
              <a:gd name="connsiteX4" fmla="*/ 0 w 6336060"/>
              <a:gd name="connsiteY4" fmla="*/ 6897928 h 6897928"/>
              <a:gd name="connsiteX5" fmla="*/ 1694688 w 6336060"/>
              <a:gd name="connsiteY5" fmla="*/ 0 h 6897928"/>
              <a:gd name="connsiteX0" fmla="*/ 0 w 4641372"/>
              <a:gd name="connsiteY0" fmla="*/ 0 h 6897928"/>
              <a:gd name="connsiteX1" fmla="*/ 3927694 w 4641372"/>
              <a:gd name="connsiteY1" fmla="*/ 12192 h 6897928"/>
              <a:gd name="connsiteX2" fmla="*/ 4641372 w 4641372"/>
              <a:gd name="connsiteY2" fmla="*/ 2101748 h 6897928"/>
              <a:gd name="connsiteX3" fmla="*/ 3927694 w 4641372"/>
              <a:gd name="connsiteY3" fmla="*/ 6897928 h 6897928"/>
              <a:gd name="connsiteX4" fmla="*/ 12192 w 4641372"/>
              <a:gd name="connsiteY4" fmla="*/ 6897928 h 6897928"/>
              <a:gd name="connsiteX5" fmla="*/ 0 w 4641372"/>
              <a:gd name="connsiteY5" fmla="*/ 0 h 689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41372" h="6897928">
                <a:moveTo>
                  <a:pt x="0" y="0"/>
                </a:moveTo>
                <a:lnTo>
                  <a:pt x="3927694" y="12192"/>
                </a:lnTo>
                <a:lnTo>
                  <a:pt x="4641372" y="2101748"/>
                </a:lnTo>
                <a:lnTo>
                  <a:pt x="3927694" y="6897928"/>
                </a:lnTo>
                <a:lnTo>
                  <a:pt x="12192" y="689792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1B003705-529B-B3DF-DEF5-CA55EAF38F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80000"/>
              </a:lnSpc>
              <a:buNone/>
              <a:defRPr sz="4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7109" y="292100"/>
            <a:ext cx="6612003" cy="5654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67524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3B7642C8-941E-56F6-40C2-50073AD2D0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-34925" y="-23813"/>
            <a:ext cx="4641850" cy="68976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  <a:gd name="connsiteX0" fmla="*/ 2060448 w 6336060"/>
              <a:gd name="connsiteY0" fmla="*/ 134112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2060448 w 6336060"/>
              <a:gd name="connsiteY5" fmla="*/ 134112 h 6885736"/>
              <a:gd name="connsiteX0" fmla="*/ 1694688 w 6336060"/>
              <a:gd name="connsiteY0" fmla="*/ 0 h 6897928"/>
              <a:gd name="connsiteX1" fmla="*/ 5622382 w 6336060"/>
              <a:gd name="connsiteY1" fmla="*/ 12192 h 6897928"/>
              <a:gd name="connsiteX2" fmla="*/ 6336060 w 6336060"/>
              <a:gd name="connsiteY2" fmla="*/ 2101748 h 6897928"/>
              <a:gd name="connsiteX3" fmla="*/ 5622382 w 6336060"/>
              <a:gd name="connsiteY3" fmla="*/ 6897928 h 6897928"/>
              <a:gd name="connsiteX4" fmla="*/ 0 w 6336060"/>
              <a:gd name="connsiteY4" fmla="*/ 6897928 h 6897928"/>
              <a:gd name="connsiteX5" fmla="*/ 1694688 w 6336060"/>
              <a:gd name="connsiteY5" fmla="*/ 0 h 6897928"/>
              <a:gd name="connsiteX0" fmla="*/ 0 w 4641372"/>
              <a:gd name="connsiteY0" fmla="*/ 0 h 6897928"/>
              <a:gd name="connsiteX1" fmla="*/ 3927694 w 4641372"/>
              <a:gd name="connsiteY1" fmla="*/ 12192 h 6897928"/>
              <a:gd name="connsiteX2" fmla="*/ 4641372 w 4641372"/>
              <a:gd name="connsiteY2" fmla="*/ 2101748 h 6897928"/>
              <a:gd name="connsiteX3" fmla="*/ 3927694 w 4641372"/>
              <a:gd name="connsiteY3" fmla="*/ 6897928 h 6897928"/>
              <a:gd name="connsiteX4" fmla="*/ 12192 w 4641372"/>
              <a:gd name="connsiteY4" fmla="*/ 6897928 h 6897928"/>
              <a:gd name="connsiteX5" fmla="*/ 0 w 4641372"/>
              <a:gd name="connsiteY5" fmla="*/ 0 h 6897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41372" h="6897928">
                <a:moveTo>
                  <a:pt x="0" y="0"/>
                </a:moveTo>
                <a:lnTo>
                  <a:pt x="3927694" y="12192"/>
                </a:lnTo>
                <a:lnTo>
                  <a:pt x="4641372" y="2101748"/>
                </a:lnTo>
                <a:lnTo>
                  <a:pt x="3927694" y="6897928"/>
                </a:lnTo>
                <a:lnTo>
                  <a:pt x="12192" y="689792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B4CD0F96-9993-9CF1-EE77-B2479C34B0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80000"/>
              </a:lnSpc>
              <a:buNone/>
              <a:defRPr sz="4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7109" y="292100"/>
            <a:ext cx="6612003" cy="565467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11179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Point-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ame Side Corner Rectangle 9">
            <a:extLst>
              <a:ext uri="{FF2B5EF4-FFF2-40B4-BE49-F238E27FC236}">
                <a16:creationId xmlns:a16="http://schemas.microsoft.com/office/drawing/2014/main" id="{11553FBB-9638-D78E-F74D-72C6F9CB29D2}"/>
              </a:ext>
            </a:extLst>
          </p:cNvPr>
          <p:cNvSpPr/>
          <p:nvPr userDrawn="1"/>
        </p:nvSpPr>
        <p:spPr>
          <a:xfrm rot="10800000">
            <a:off x="-9525" y="-31750"/>
            <a:ext cx="12220575" cy="6897688"/>
          </a:xfrm>
          <a:custGeom>
            <a:avLst/>
            <a:gdLst>
              <a:gd name="connsiteX0" fmla="*/ 1143023 w 12219709"/>
              <a:gd name="connsiteY0" fmla="*/ 0 h 6858000"/>
              <a:gd name="connsiteX1" fmla="*/ 11076686 w 12219709"/>
              <a:gd name="connsiteY1" fmla="*/ 0 h 6858000"/>
              <a:gd name="connsiteX2" fmla="*/ 12219709 w 12219709"/>
              <a:gd name="connsiteY2" fmla="*/ 1143023 h 6858000"/>
              <a:gd name="connsiteX3" fmla="*/ 12219709 w 12219709"/>
              <a:gd name="connsiteY3" fmla="*/ 6858000 h 6858000"/>
              <a:gd name="connsiteX4" fmla="*/ 12219709 w 12219709"/>
              <a:gd name="connsiteY4" fmla="*/ 6858000 h 6858000"/>
              <a:gd name="connsiteX5" fmla="*/ 0 w 12219709"/>
              <a:gd name="connsiteY5" fmla="*/ 6858000 h 6858000"/>
              <a:gd name="connsiteX6" fmla="*/ 0 w 12219709"/>
              <a:gd name="connsiteY6" fmla="*/ 6858000 h 6858000"/>
              <a:gd name="connsiteX7" fmla="*/ 0 w 12219709"/>
              <a:gd name="connsiteY7" fmla="*/ 1143023 h 6858000"/>
              <a:gd name="connsiteX8" fmla="*/ 1143023 w 12219709"/>
              <a:gd name="connsiteY8" fmla="*/ 0 h 6858000"/>
              <a:gd name="connsiteX0" fmla="*/ 1143023 w 12219709"/>
              <a:gd name="connsiteY0" fmla="*/ 9236 h 6867236"/>
              <a:gd name="connsiteX1" fmla="*/ 9589632 w 12219709"/>
              <a:gd name="connsiteY1" fmla="*/ 0 h 6867236"/>
              <a:gd name="connsiteX2" fmla="*/ 12219709 w 12219709"/>
              <a:gd name="connsiteY2" fmla="*/ 1152259 h 6867236"/>
              <a:gd name="connsiteX3" fmla="*/ 12219709 w 12219709"/>
              <a:gd name="connsiteY3" fmla="*/ 6867236 h 6867236"/>
              <a:gd name="connsiteX4" fmla="*/ 12219709 w 12219709"/>
              <a:gd name="connsiteY4" fmla="*/ 6867236 h 6867236"/>
              <a:gd name="connsiteX5" fmla="*/ 0 w 12219709"/>
              <a:gd name="connsiteY5" fmla="*/ 6867236 h 6867236"/>
              <a:gd name="connsiteX6" fmla="*/ 0 w 12219709"/>
              <a:gd name="connsiteY6" fmla="*/ 6867236 h 6867236"/>
              <a:gd name="connsiteX7" fmla="*/ 0 w 12219709"/>
              <a:gd name="connsiteY7" fmla="*/ 1152259 h 6867236"/>
              <a:gd name="connsiteX8" fmla="*/ 1143023 w 12219709"/>
              <a:gd name="connsiteY8" fmla="*/ 9236 h 6867236"/>
              <a:gd name="connsiteX0" fmla="*/ 9594296 w 12219709"/>
              <a:gd name="connsiteY0" fmla="*/ 0 h 6885709"/>
              <a:gd name="connsiteX1" fmla="*/ 9589632 w 12219709"/>
              <a:gd name="connsiteY1" fmla="*/ 18473 h 6885709"/>
              <a:gd name="connsiteX2" fmla="*/ 12219709 w 12219709"/>
              <a:gd name="connsiteY2" fmla="*/ 1170732 h 6885709"/>
              <a:gd name="connsiteX3" fmla="*/ 12219709 w 12219709"/>
              <a:gd name="connsiteY3" fmla="*/ 6885709 h 6885709"/>
              <a:gd name="connsiteX4" fmla="*/ 12219709 w 12219709"/>
              <a:gd name="connsiteY4" fmla="*/ 6885709 h 6885709"/>
              <a:gd name="connsiteX5" fmla="*/ 0 w 12219709"/>
              <a:gd name="connsiteY5" fmla="*/ 6885709 h 6885709"/>
              <a:gd name="connsiteX6" fmla="*/ 0 w 12219709"/>
              <a:gd name="connsiteY6" fmla="*/ 6885709 h 6885709"/>
              <a:gd name="connsiteX7" fmla="*/ 0 w 12219709"/>
              <a:gd name="connsiteY7" fmla="*/ 1170732 h 6885709"/>
              <a:gd name="connsiteX8" fmla="*/ 9594296 w 12219709"/>
              <a:gd name="connsiteY8" fmla="*/ 0 h 6885709"/>
              <a:gd name="connsiteX0" fmla="*/ 8624478 w 12219709"/>
              <a:gd name="connsiteY0" fmla="*/ 0 h 6876473"/>
              <a:gd name="connsiteX1" fmla="*/ 9589632 w 12219709"/>
              <a:gd name="connsiteY1" fmla="*/ 9237 h 6876473"/>
              <a:gd name="connsiteX2" fmla="*/ 12219709 w 12219709"/>
              <a:gd name="connsiteY2" fmla="*/ 1161496 h 6876473"/>
              <a:gd name="connsiteX3" fmla="*/ 12219709 w 12219709"/>
              <a:gd name="connsiteY3" fmla="*/ 6876473 h 6876473"/>
              <a:gd name="connsiteX4" fmla="*/ 12219709 w 12219709"/>
              <a:gd name="connsiteY4" fmla="*/ 6876473 h 6876473"/>
              <a:gd name="connsiteX5" fmla="*/ 0 w 12219709"/>
              <a:gd name="connsiteY5" fmla="*/ 6876473 h 6876473"/>
              <a:gd name="connsiteX6" fmla="*/ 0 w 12219709"/>
              <a:gd name="connsiteY6" fmla="*/ 6876473 h 6876473"/>
              <a:gd name="connsiteX7" fmla="*/ 0 w 12219709"/>
              <a:gd name="connsiteY7" fmla="*/ 1161496 h 6876473"/>
              <a:gd name="connsiteX8" fmla="*/ 8624478 w 12219709"/>
              <a:gd name="connsiteY8" fmla="*/ 0 h 6876473"/>
              <a:gd name="connsiteX0" fmla="*/ 8624478 w 12219709"/>
              <a:gd name="connsiteY0" fmla="*/ 18472 h 6894945"/>
              <a:gd name="connsiteX1" fmla="*/ 8610578 w 12219709"/>
              <a:gd name="connsiteY1" fmla="*/ 0 h 6894945"/>
              <a:gd name="connsiteX2" fmla="*/ 12219709 w 12219709"/>
              <a:gd name="connsiteY2" fmla="*/ 1179968 h 6894945"/>
              <a:gd name="connsiteX3" fmla="*/ 12219709 w 12219709"/>
              <a:gd name="connsiteY3" fmla="*/ 6894945 h 6894945"/>
              <a:gd name="connsiteX4" fmla="*/ 12219709 w 12219709"/>
              <a:gd name="connsiteY4" fmla="*/ 6894945 h 6894945"/>
              <a:gd name="connsiteX5" fmla="*/ 0 w 12219709"/>
              <a:gd name="connsiteY5" fmla="*/ 6894945 h 6894945"/>
              <a:gd name="connsiteX6" fmla="*/ 0 w 12219709"/>
              <a:gd name="connsiteY6" fmla="*/ 6894945 h 6894945"/>
              <a:gd name="connsiteX7" fmla="*/ 0 w 12219709"/>
              <a:gd name="connsiteY7" fmla="*/ 1179968 h 6894945"/>
              <a:gd name="connsiteX8" fmla="*/ 8624478 w 12219709"/>
              <a:gd name="connsiteY8" fmla="*/ 18472 h 6894945"/>
              <a:gd name="connsiteX0" fmla="*/ 8603213 w 12219709"/>
              <a:gd name="connsiteY0" fmla="*/ 0 h 6897738"/>
              <a:gd name="connsiteX1" fmla="*/ 8610578 w 12219709"/>
              <a:gd name="connsiteY1" fmla="*/ 2793 h 6897738"/>
              <a:gd name="connsiteX2" fmla="*/ 12219709 w 12219709"/>
              <a:gd name="connsiteY2" fmla="*/ 1182761 h 6897738"/>
              <a:gd name="connsiteX3" fmla="*/ 12219709 w 12219709"/>
              <a:gd name="connsiteY3" fmla="*/ 6897738 h 6897738"/>
              <a:gd name="connsiteX4" fmla="*/ 12219709 w 12219709"/>
              <a:gd name="connsiteY4" fmla="*/ 6897738 h 6897738"/>
              <a:gd name="connsiteX5" fmla="*/ 0 w 12219709"/>
              <a:gd name="connsiteY5" fmla="*/ 6897738 h 6897738"/>
              <a:gd name="connsiteX6" fmla="*/ 0 w 12219709"/>
              <a:gd name="connsiteY6" fmla="*/ 6897738 h 6897738"/>
              <a:gd name="connsiteX7" fmla="*/ 0 w 12219709"/>
              <a:gd name="connsiteY7" fmla="*/ 1182761 h 6897738"/>
              <a:gd name="connsiteX8" fmla="*/ 8603213 w 12219709"/>
              <a:gd name="connsiteY8" fmla="*/ 0 h 6897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19709" h="6897738">
                <a:moveTo>
                  <a:pt x="8603213" y="0"/>
                </a:moveTo>
                <a:lnTo>
                  <a:pt x="8610578" y="2793"/>
                </a:lnTo>
                <a:lnTo>
                  <a:pt x="12219709" y="1182761"/>
                </a:lnTo>
                <a:lnTo>
                  <a:pt x="12219709" y="6897738"/>
                </a:lnTo>
                <a:lnTo>
                  <a:pt x="12219709" y="6897738"/>
                </a:lnTo>
                <a:lnTo>
                  <a:pt x="0" y="6897738"/>
                </a:lnTo>
                <a:lnTo>
                  <a:pt x="0" y="6897738"/>
                </a:lnTo>
                <a:lnTo>
                  <a:pt x="0" y="1182761"/>
                </a:lnTo>
                <a:lnTo>
                  <a:pt x="860321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053CDA4B-86B2-D394-DC0E-0DD76B3626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8672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Point-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ame Side Corner Rectangle 9">
            <a:extLst>
              <a:ext uri="{FF2B5EF4-FFF2-40B4-BE49-F238E27FC236}">
                <a16:creationId xmlns:a16="http://schemas.microsoft.com/office/drawing/2014/main" id="{03845241-8467-83CE-2E6B-19037097EAC4}"/>
              </a:ext>
            </a:extLst>
          </p:cNvPr>
          <p:cNvSpPr/>
          <p:nvPr userDrawn="1"/>
        </p:nvSpPr>
        <p:spPr>
          <a:xfrm rot="10800000">
            <a:off x="-14288" y="-20638"/>
            <a:ext cx="12220576" cy="6899276"/>
          </a:xfrm>
          <a:custGeom>
            <a:avLst/>
            <a:gdLst>
              <a:gd name="connsiteX0" fmla="*/ 1143023 w 12219709"/>
              <a:gd name="connsiteY0" fmla="*/ 0 h 6858000"/>
              <a:gd name="connsiteX1" fmla="*/ 11076686 w 12219709"/>
              <a:gd name="connsiteY1" fmla="*/ 0 h 6858000"/>
              <a:gd name="connsiteX2" fmla="*/ 12219709 w 12219709"/>
              <a:gd name="connsiteY2" fmla="*/ 1143023 h 6858000"/>
              <a:gd name="connsiteX3" fmla="*/ 12219709 w 12219709"/>
              <a:gd name="connsiteY3" fmla="*/ 6858000 h 6858000"/>
              <a:gd name="connsiteX4" fmla="*/ 12219709 w 12219709"/>
              <a:gd name="connsiteY4" fmla="*/ 6858000 h 6858000"/>
              <a:gd name="connsiteX5" fmla="*/ 0 w 12219709"/>
              <a:gd name="connsiteY5" fmla="*/ 6858000 h 6858000"/>
              <a:gd name="connsiteX6" fmla="*/ 0 w 12219709"/>
              <a:gd name="connsiteY6" fmla="*/ 6858000 h 6858000"/>
              <a:gd name="connsiteX7" fmla="*/ 0 w 12219709"/>
              <a:gd name="connsiteY7" fmla="*/ 1143023 h 6858000"/>
              <a:gd name="connsiteX8" fmla="*/ 1143023 w 12219709"/>
              <a:gd name="connsiteY8" fmla="*/ 0 h 6858000"/>
              <a:gd name="connsiteX0" fmla="*/ 1143023 w 12219709"/>
              <a:gd name="connsiteY0" fmla="*/ 9236 h 6867236"/>
              <a:gd name="connsiteX1" fmla="*/ 9589632 w 12219709"/>
              <a:gd name="connsiteY1" fmla="*/ 0 h 6867236"/>
              <a:gd name="connsiteX2" fmla="*/ 12219709 w 12219709"/>
              <a:gd name="connsiteY2" fmla="*/ 1152259 h 6867236"/>
              <a:gd name="connsiteX3" fmla="*/ 12219709 w 12219709"/>
              <a:gd name="connsiteY3" fmla="*/ 6867236 h 6867236"/>
              <a:gd name="connsiteX4" fmla="*/ 12219709 w 12219709"/>
              <a:gd name="connsiteY4" fmla="*/ 6867236 h 6867236"/>
              <a:gd name="connsiteX5" fmla="*/ 0 w 12219709"/>
              <a:gd name="connsiteY5" fmla="*/ 6867236 h 6867236"/>
              <a:gd name="connsiteX6" fmla="*/ 0 w 12219709"/>
              <a:gd name="connsiteY6" fmla="*/ 6867236 h 6867236"/>
              <a:gd name="connsiteX7" fmla="*/ 0 w 12219709"/>
              <a:gd name="connsiteY7" fmla="*/ 1152259 h 6867236"/>
              <a:gd name="connsiteX8" fmla="*/ 1143023 w 12219709"/>
              <a:gd name="connsiteY8" fmla="*/ 9236 h 6867236"/>
              <a:gd name="connsiteX0" fmla="*/ 9594296 w 12219709"/>
              <a:gd name="connsiteY0" fmla="*/ 0 h 6885709"/>
              <a:gd name="connsiteX1" fmla="*/ 9589632 w 12219709"/>
              <a:gd name="connsiteY1" fmla="*/ 18473 h 6885709"/>
              <a:gd name="connsiteX2" fmla="*/ 12219709 w 12219709"/>
              <a:gd name="connsiteY2" fmla="*/ 1170732 h 6885709"/>
              <a:gd name="connsiteX3" fmla="*/ 12219709 w 12219709"/>
              <a:gd name="connsiteY3" fmla="*/ 6885709 h 6885709"/>
              <a:gd name="connsiteX4" fmla="*/ 12219709 w 12219709"/>
              <a:gd name="connsiteY4" fmla="*/ 6885709 h 6885709"/>
              <a:gd name="connsiteX5" fmla="*/ 0 w 12219709"/>
              <a:gd name="connsiteY5" fmla="*/ 6885709 h 6885709"/>
              <a:gd name="connsiteX6" fmla="*/ 0 w 12219709"/>
              <a:gd name="connsiteY6" fmla="*/ 6885709 h 6885709"/>
              <a:gd name="connsiteX7" fmla="*/ 0 w 12219709"/>
              <a:gd name="connsiteY7" fmla="*/ 1170732 h 6885709"/>
              <a:gd name="connsiteX8" fmla="*/ 9594296 w 12219709"/>
              <a:gd name="connsiteY8" fmla="*/ 0 h 6885709"/>
              <a:gd name="connsiteX0" fmla="*/ 8624478 w 12219709"/>
              <a:gd name="connsiteY0" fmla="*/ 0 h 6876473"/>
              <a:gd name="connsiteX1" fmla="*/ 9589632 w 12219709"/>
              <a:gd name="connsiteY1" fmla="*/ 9237 h 6876473"/>
              <a:gd name="connsiteX2" fmla="*/ 12219709 w 12219709"/>
              <a:gd name="connsiteY2" fmla="*/ 1161496 h 6876473"/>
              <a:gd name="connsiteX3" fmla="*/ 12219709 w 12219709"/>
              <a:gd name="connsiteY3" fmla="*/ 6876473 h 6876473"/>
              <a:gd name="connsiteX4" fmla="*/ 12219709 w 12219709"/>
              <a:gd name="connsiteY4" fmla="*/ 6876473 h 6876473"/>
              <a:gd name="connsiteX5" fmla="*/ 0 w 12219709"/>
              <a:gd name="connsiteY5" fmla="*/ 6876473 h 6876473"/>
              <a:gd name="connsiteX6" fmla="*/ 0 w 12219709"/>
              <a:gd name="connsiteY6" fmla="*/ 6876473 h 6876473"/>
              <a:gd name="connsiteX7" fmla="*/ 0 w 12219709"/>
              <a:gd name="connsiteY7" fmla="*/ 1161496 h 6876473"/>
              <a:gd name="connsiteX8" fmla="*/ 8624478 w 12219709"/>
              <a:gd name="connsiteY8" fmla="*/ 0 h 6876473"/>
              <a:gd name="connsiteX0" fmla="*/ 8624478 w 12219709"/>
              <a:gd name="connsiteY0" fmla="*/ 18472 h 6894945"/>
              <a:gd name="connsiteX1" fmla="*/ 8610578 w 12219709"/>
              <a:gd name="connsiteY1" fmla="*/ 0 h 6894945"/>
              <a:gd name="connsiteX2" fmla="*/ 12219709 w 12219709"/>
              <a:gd name="connsiteY2" fmla="*/ 1179968 h 6894945"/>
              <a:gd name="connsiteX3" fmla="*/ 12219709 w 12219709"/>
              <a:gd name="connsiteY3" fmla="*/ 6894945 h 6894945"/>
              <a:gd name="connsiteX4" fmla="*/ 12219709 w 12219709"/>
              <a:gd name="connsiteY4" fmla="*/ 6894945 h 6894945"/>
              <a:gd name="connsiteX5" fmla="*/ 0 w 12219709"/>
              <a:gd name="connsiteY5" fmla="*/ 6894945 h 6894945"/>
              <a:gd name="connsiteX6" fmla="*/ 0 w 12219709"/>
              <a:gd name="connsiteY6" fmla="*/ 6894945 h 6894945"/>
              <a:gd name="connsiteX7" fmla="*/ 0 w 12219709"/>
              <a:gd name="connsiteY7" fmla="*/ 1179968 h 6894945"/>
              <a:gd name="connsiteX8" fmla="*/ 8624478 w 12219709"/>
              <a:gd name="connsiteY8" fmla="*/ 18472 h 6894945"/>
              <a:gd name="connsiteX0" fmla="*/ 8603213 w 12219709"/>
              <a:gd name="connsiteY0" fmla="*/ 0 h 6897738"/>
              <a:gd name="connsiteX1" fmla="*/ 8610578 w 12219709"/>
              <a:gd name="connsiteY1" fmla="*/ 2793 h 6897738"/>
              <a:gd name="connsiteX2" fmla="*/ 12219709 w 12219709"/>
              <a:gd name="connsiteY2" fmla="*/ 1182761 h 6897738"/>
              <a:gd name="connsiteX3" fmla="*/ 12219709 w 12219709"/>
              <a:gd name="connsiteY3" fmla="*/ 6897738 h 6897738"/>
              <a:gd name="connsiteX4" fmla="*/ 12219709 w 12219709"/>
              <a:gd name="connsiteY4" fmla="*/ 6897738 h 6897738"/>
              <a:gd name="connsiteX5" fmla="*/ 0 w 12219709"/>
              <a:gd name="connsiteY5" fmla="*/ 6897738 h 6897738"/>
              <a:gd name="connsiteX6" fmla="*/ 0 w 12219709"/>
              <a:gd name="connsiteY6" fmla="*/ 6897738 h 6897738"/>
              <a:gd name="connsiteX7" fmla="*/ 0 w 12219709"/>
              <a:gd name="connsiteY7" fmla="*/ 1182761 h 6897738"/>
              <a:gd name="connsiteX8" fmla="*/ 8603213 w 12219709"/>
              <a:gd name="connsiteY8" fmla="*/ 0 h 6897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19709" h="6897738">
                <a:moveTo>
                  <a:pt x="8603213" y="0"/>
                </a:moveTo>
                <a:lnTo>
                  <a:pt x="8610578" y="2793"/>
                </a:lnTo>
                <a:lnTo>
                  <a:pt x="12219709" y="1182761"/>
                </a:lnTo>
                <a:lnTo>
                  <a:pt x="12219709" y="6897738"/>
                </a:lnTo>
                <a:lnTo>
                  <a:pt x="12219709" y="6897738"/>
                </a:lnTo>
                <a:lnTo>
                  <a:pt x="0" y="6897738"/>
                </a:lnTo>
                <a:lnTo>
                  <a:pt x="0" y="6897738"/>
                </a:lnTo>
                <a:lnTo>
                  <a:pt x="0" y="1182761"/>
                </a:lnTo>
                <a:lnTo>
                  <a:pt x="860321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97CF60E7-CD6E-B103-DBBE-0254C89057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874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737401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-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9163C57-E689-CC00-F5E0-8B085D382D48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4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80918DCD-66F8-D1A1-5A31-3C8D827D3E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052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-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CD9F8A6-E40E-24C6-404B-1FBD4CAC5015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4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8F1209F-1E9F-F6AB-BBB0-2B5BE15CC4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5492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Divider Blu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75E88458-7134-EB1F-95BB-22DFE47668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12195175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076317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Divider 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id="{C7316194-8A7F-EFA7-BA49-55766206C7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12195175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6306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Divider Bl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2191998" cy="6858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194416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2191998" cy="6858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13338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060873" y="0"/>
            <a:ext cx="3131127" cy="6858000"/>
          </a:xfr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713316" y="0"/>
            <a:ext cx="3430939" cy="6859582"/>
          </a:xfrm>
          <a:custGeom>
            <a:avLst/>
            <a:gdLst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0 w 7424926"/>
              <a:gd name="connsiteY7" fmla="*/ 1149119 h 6894576"/>
              <a:gd name="connsiteX8" fmla="*/ 1149119 w 7424926"/>
              <a:gd name="connsiteY8" fmla="*/ 0 h 6894576"/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877824 w 7424926"/>
              <a:gd name="connsiteY7" fmla="*/ 2124479 h 6894576"/>
              <a:gd name="connsiteX8" fmla="*/ 1149119 w 7424926"/>
              <a:gd name="connsiteY8" fmla="*/ 0 h 6894576"/>
              <a:gd name="connsiteX0" fmla="*/ 39647 w 7424926"/>
              <a:gd name="connsiteY0" fmla="*/ 0 h 6918960"/>
              <a:gd name="connsiteX1" fmla="*/ 6275807 w 7424926"/>
              <a:gd name="connsiteY1" fmla="*/ 24384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6559294 w 7424926"/>
              <a:gd name="connsiteY4" fmla="*/ 6906768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6559294"/>
              <a:gd name="connsiteY0" fmla="*/ 0 h 6943344"/>
              <a:gd name="connsiteX1" fmla="*/ 2435327 w 6559294"/>
              <a:gd name="connsiteY1" fmla="*/ 0 h 6943344"/>
              <a:gd name="connsiteX2" fmla="*/ 3145534 w 6559294"/>
              <a:gd name="connsiteY2" fmla="*/ 1880639 h 6943344"/>
              <a:gd name="connsiteX3" fmla="*/ 1865374 w 6559294"/>
              <a:gd name="connsiteY3" fmla="*/ 6943344 h 6943344"/>
              <a:gd name="connsiteX4" fmla="*/ 6559294 w 6559294"/>
              <a:gd name="connsiteY4" fmla="*/ 6906768 h 6943344"/>
              <a:gd name="connsiteX5" fmla="*/ 0 w 6559294"/>
              <a:gd name="connsiteY5" fmla="*/ 6918960 h 6943344"/>
              <a:gd name="connsiteX6" fmla="*/ 0 w 6559294"/>
              <a:gd name="connsiteY6" fmla="*/ 6918960 h 6943344"/>
              <a:gd name="connsiteX7" fmla="*/ 877824 w 6559294"/>
              <a:gd name="connsiteY7" fmla="*/ 2148863 h 6943344"/>
              <a:gd name="connsiteX8" fmla="*/ 39647 w 6559294"/>
              <a:gd name="connsiteY8" fmla="*/ 0 h 6943344"/>
              <a:gd name="connsiteX0" fmla="*/ 39647 w 3145534"/>
              <a:gd name="connsiteY0" fmla="*/ 0 h 6943344"/>
              <a:gd name="connsiteX1" fmla="*/ 2435327 w 3145534"/>
              <a:gd name="connsiteY1" fmla="*/ 0 h 6943344"/>
              <a:gd name="connsiteX2" fmla="*/ 3145534 w 3145534"/>
              <a:gd name="connsiteY2" fmla="*/ 1880639 h 6943344"/>
              <a:gd name="connsiteX3" fmla="*/ 1865374 w 3145534"/>
              <a:gd name="connsiteY3" fmla="*/ 6943344 h 6943344"/>
              <a:gd name="connsiteX4" fmla="*/ 1670302 w 3145534"/>
              <a:gd name="connsiteY4" fmla="*/ 6931152 h 6943344"/>
              <a:gd name="connsiteX5" fmla="*/ 0 w 3145534"/>
              <a:gd name="connsiteY5" fmla="*/ 6918960 h 6943344"/>
              <a:gd name="connsiteX6" fmla="*/ 0 w 3145534"/>
              <a:gd name="connsiteY6" fmla="*/ 6918960 h 6943344"/>
              <a:gd name="connsiteX7" fmla="*/ 877824 w 3145534"/>
              <a:gd name="connsiteY7" fmla="*/ 2148863 h 6943344"/>
              <a:gd name="connsiteX8" fmla="*/ 39647 w 3145534"/>
              <a:gd name="connsiteY8" fmla="*/ 0 h 6943344"/>
              <a:gd name="connsiteX0" fmla="*/ 39647 w 3145534"/>
              <a:gd name="connsiteY0" fmla="*/ 0 h 6955536"/>
              <a:gd name="connsiteX1" fmla="*/ 2435327 w 3145534"/>
              <a:gd name="connsiteY1" fmla="*/ 0 h 6955536"/>
              <a:gd name="connsiteX2" fmla="*/ 3145534 w 3145534"/>
              <a:gd name="connsiteY2" fmla="*/ 1880639 h 6955536"/>
              <a:gd name="connsiteX3" fmla="*/ 1865374 w 3145534"/>
              <a:gd name="connsiteY3" fmla="*/ 6943344 h 6955536"/>
              <a:gd name="connsiteX4" fmla="*/ 1816606 w 3145534"/>
              <a:gd name="connsiteY4" fmla="*/ 6955536 h 6955536"/>
              <a:gd name="connsiteX5" fmla="*/ 0 w 3145534"/>
              <a:gd name="connsiteY5" fmla="*/ 6918960 h 6955536"/>
              <a:gd name="connsiteX6" fmla="*/ 0 w 3145534"/>
              <a:gd name="connsiteY6" fmla="*/ 6918960 h 6955536"/>
              <a:gd name="connsiteX7" fmla="*/ 877824 w 3145534"/>
              <a:gd name="connsiteY7" fmla="*/ 2148863 h 6955536"/>
              <a:gd name="connsiteX8" fmla="*/ 39647 w 3145534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1865374 w 3194302"/>
              <a:gd name="connsiteY3" fmla="*/ 6943344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2036062 w 3194302"/>
              <a:gd name="connsiteY3" fmla="*/ 6955536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1816606 w 3194302"/>
              <a:gd name="connsiteY4" fmla="*/ 6955536 h 6979920"/>
              <a:gd name="connsiteX5" fmla="*/ 0 w 3194302"/>
              <a:gd name="connsiteY5" fmla="*/ 6918960 h 6979920"/>
              <a:gd name="connsiteX6" fmla="*/ 0 w 3194302"/>
              <a:gd name="connsiteY6" fmla="*/ 6918960 h 6979920"/>
              <a:gd name="connsiteX7" fmla="*/ 877824 w 3194302"/>
              <a:gd name="connsiteY7" fmla="*/ 2148863 h 6979920"/>
              <a:gd name="connsiteX8" fmla="*/ 39647 w 3194302"/>
              <a:gd name="connsiteY8" fmla="*/ 0 h 6979920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0 w 3194302"/>
              <a:gd name="connsiteY4" fmla="*/ 6918960 h 6979920"/>
              <a:gd name="connsiteX5" fmla="*/ 0 w 3194302"/>
              <a:gd name="connsiteY5" fmla="*/ 6918960 h 6979920"/>
              <a:gd name="connsiteX6" fmla="*/ 877824 w 3194302"/>
              <a:gd name="connsiteY6" fmla="*/ 2148863 h 6979920"/>
              <a:gd name="connsiteX7" fmla="*/ 39647 w 3194302"/>
              <a:gd name="connsiteY7" fmla="*/ 0 h 6979920"/>
              <a:gd name="connsiteX0" fmla="*/ 39647 w 3194302"/>
              <a:gd name="connsiteY0" fmla="*/ 0 h 6920543"/>
              <a:gd name="connsiteX1" fmla="*/ 2435327 w 3194302"/>
              <a:gd name="connsiteY1" fmla="*/ 0 h 6920543"/>
              <a:gd name="connsiteX2" fmla="*/ 3194302 w 3194302"/>
              <a:gd name="connsiteY2" fmla="*/ 2173247 h 6920543"/>
              <a:gd name="connsiteX3" fmla="*/ 2182366 w 3194302"/>
              <a:gd name="connsiteY3" fmla="*/ 6920543 h 6920543"/>
              <a:gd name="connsiteX4" fmla="*/ 0 w 3194302"/>
              <a:gd name="connsiteY4" fmla="*/ 6918960 h 6920543"/>
              <a:gd name="connsiteX5" fmla="*/ 0 w 3194302"/>
              <a:gd name="connsiteY5" fmla="*/ 6918960 h 6920543"/>
              <a:gd name="connsiteX6" fmla="*/ 877824 w 3194302"/>
              <a:gd name="connsiteY6" fmla="*/ 2148863 h 6920543"/>
              <a:gd name="connsiteX7" fmla="*/ 39647 w 3194302"/>
              <a:gd name="connsiteY7" fmla="*/ 0 h 692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94302" h="6920543">
                <a:moveTo>
                  <a:pt x="39647" y="0"/>
                </a:moveTo>
                <a:lnTo>
                  <a:pt x="2435327" y="0"/>
                </a:lnTo>
                <a:lnTo>
                  <a:pt x="3194302" y="2173247"/>
                </a:lnTo>
                <a:lnTo>
                  <a:pt x="2182366" y="6920543"/>
                </a:lnTo>
                <a:lnTo>
                  <a:pt x="0" y="6918960"/>
                </a:lnTo>
                <a:lnTo>
                  <a:pt x="0" y="6918960"/>
                </a:lnTo>
                <a:lnTo>
                  <a:pt x="877824" y="2148863"/>
                </a:lnTo>
                <a:lnTo>
                  <a:pt x="39647" y="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005413" y="0"/>
            <a:ext cx="3470136" cy="6859582"/>
          </a:xfrm>
          <a:custGeom>
            <a:avLst/>
            <a:gdLst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0 w 7424926"/>
              <a:gd name="connsiteY7" fmla="*/ 1149119 h 6894576"/>
              <a:gd name="connsiteX8" fmla="*/ 1149119 w 7424926"/>
              <a:gd name="connsiteY8" fmla="*/ 0 h 6894576"/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877824 w 7424926"/>
              <a:gd name="connsiteY7" fmla="*/ 2124479 h 6894576"/>
              <a:gd name="connsiteX8" fmla="*/ 1149119 w 7424926"/>
              <a:gd name="connsiteY8" fmla="*/ 0 h 6894576"/>
              <a:gd name="connsiteX0" fmla="*/ 39647 w 7424926"/>
              <a:gd name="connsiteY0" fmla="*/ 0 h 6918960"/>
              <a:gd name="connsiteX1" fmla="*/ 6275807 w 7424926"/>
              <a:gd name="connsiteY1" fmla="*/ 24384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6559294 w 7424926"/>
              <a:gd name="connsiteY4" fmla="*/ 6906768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6559294"/>
              <a:gd name="connsiteY0" fmla="*/ 0 h 6943344"/>
              <a:gd name="connsiteX1" fmla="*/ 2435327 w 6559294"/>
              <a:gd name="connsiteY1" fmla="*/ 0 h 6943344"/>
              <a:gd name="connsiteX2" fmla="*/ 3145534 w 6559294"/>
              <a:gd name="connsiteY2" fmla="*/ 1880639 h 6943344"/>
              <a:gd name="connsiteX3" fmla="*/ 1865374 w 6559294"/>
              <a:gd name="connsiteY3" fmla="*/ 6943344 h 6943344"/>
              <a:gd name="connsiteX4" fmla="*/ 6559294 w 6559294"/>
              <a:gd name="connsiteY4" fmla="*/ 6906768 h 6943344"/>
              <a:gd name="connsiteX5" fmla="*/ 0 w 6559294"/>
              <a:gd name="connsiteY5" fmla="*/ 6918960 h 6943344"/>
              <a:gd name="connsiteX6" fmla="*/ 0 w 6559294"/>
              <a:gd name="connsiteY6" fmla="*/ 6918960 h 6943344"/>
              <a:gd name="connsiteX7" fmla="*/ 877824 w 6559294"/>
              <a:gd name="connsiteY7" fmla="*/ 2148863 h 6943344"/>
              <a:gd name="connsiteX8" fmla="*/ 39647 w 6559294"/>
              <a:gd name="connsiteY8" fmla="*/ 0 h 6943344"/>
              <a:gd name="connsiteX0" fmla="*/ 39647 w 3145534"/>
              <a:gd name="connsiteY0" fmla="*/ 0 h 6943344"/>
              <a:gd name="connsiteX1" fmla="*/ 2435327 w 3145534"/>
              <a:gd name="connsiteY1" fmla="*/ 0 h 6943344"/>
              <a:gd name="connsiteX2" fmla="*/ 3145534 w 3145534"/>
              <a:gd name="connsiteY2" fmla="*/ 1880639 h 6943344"/>
              <a:gd name="connsiteX3" fmla="*/ 1865374 w 3145534"/>
              <a:gd name="connsiteY3" fmla="*/ 6943344 h 6943344"/>
              <a:gd name="connsiteX4" fmla="*/ 1670302 w 3145534"/>
              <a:gd name="connsiteY4" fmla="*/ 6931152 h 6943344"/>
              <a:gd name="connsiteX5" fmla="*/ 0 w 3145534"/>
              <a:gd name="connsiteY5" fmla="*/ 6918960 h 6943344"/>
              <a:gd name="connsiteX6" fmla="*/ 0 w 3145534"/>
              <a:gd name="connsiteY6" fmla="*/ 6918960 h 6943344"/>
              <a:gd name="connsiteX7" fmla="*/ 877824 w 3145534"/>
              <a:gd name="connsiteY7" fmla="*/ 2148863 h 6943344"/>
              <a:gd name="connsiteX8" fmla="*/ 39647 w 3145534"/>
              <a:gd name="connsiteY8" fmla="*/ 0 h 6943344"/>
              <a:gd name="connsiteX0" fmla="*/ 39647 w 3145534"/>
              <a:gd name="connsiteY0" fmla="*/ 0 h 6955536"/>
              <a:gd name="connsiteX1" fmla="*/ 2435327 w 3145534"/>
              <a:gd name="connsiteY1" fmla="*/ 0 h 6955536"/>
              <a:gd name="connsiteX2" fmla="*/ 3145534 w 3145534"/>
              <a:gd name="connsiteY2" fmla="*/ 1880639 h 6955536"/>
              <a:gd name="connsiteX3" fmla="*/ 1865374 w 3145534"/>
              <a:gd name="connsiteY3" fmla="*/ 6943344 h 6955536"/>
              <a:gd name="connsiteX4" fmla="*/ 1816606 w 3145534"/>
              <a:gd name="connsiteY4" fmla="*/ 6955536 h 6955536"/>
              <a:gd name="connsiteX5" fmla="*/ 0 w 3145534"/>
              <a:gd name="connsiteY5" fmla="*/ 6918960 h 6955536"/>
              <a:gd name="connsiteX6" fmla="*/ 0 w 3145534"/>
              <a:gd name="connsiteY6" fmla="*/ 6918960 h 6955536"/>
              <a:gd name="connsiteX7" fmla="*/ 877824 w 3145534"/>
              <a:gd name="connsiteY7" fmla="*/ 2148863 h 6955536"/>
              <a:gd name="connsiteX8" fmla="*/ 39647 w 3145534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1865374 w 3194302"/>
              <a:gd name="connsiteY3" fmla="*/ 6943344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2036062 w 3194302"/>
              <a:gd name="connsiteY3" fmla="*/ 6955536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1816606 w 3194302"/>
              <a:gd name="connsiteY4" fmla="*/ 6955536 h 6979920"/>
              <a:gd name="connsiteX5" fmla="*/ 0 w 3194302"/>
              <a:gd name="connsiteY5" fmla="*/ 6918960 h 6979920"/>
              <a:gd name="connsiteX6" fmla="*/ 0 w 3194302"/>
              <a:gd name="connsiteY6" fmla="*/ 6918960 h 6979920"/>
              <a:gd name="connsiteX7" fmla="*/ 877824 w 3194302"/>
              <a:gd name="connsiteY7" fmla="*/ 2148863 h 6979920"/>
              <a:gd name="connsiteX8" fmla="*/ 39647 w 3194302"/>
              <a:gd name="connsiteY8" fmla="*/ 0 h 6979920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0 w 3194302"/>
              <a:gd name="connsiteY4" fmla="*/ 6918960 h 6979920"/>
              <a:gd name="connsiteX5" fmla="*/ 0 w 3194302"/>
              <a:gd name="connsiteY5" fmla="*/ 6918960 h 6979920"/>
              <a:gd name="connsiteX6" fmla="*/ 877824 w 3194302"/>
              <a:gd name="connsiteY6" fmla="*/ 2148863 h 6979920"/>
              <a:gd name="connsiteX7" fmla="*/ 39647 w 3194302"/>
              <a:gd name="connsiteY7" fmla="*/ 0 h 6979920"/>
              <a:gd name="connsiteX0" fmla="*/ 39647 w 3194302"/>
              <a:gd name="connsiteY0" fmla="*/ 0 h 6920543"/>
              <a:gd name="connsiteX1" fmla="*/ 2435327 w 3194302"/>
              <a:gd name="connsiteY1" fmla="*/ 0 h 6920543"/>
              <a:gd name="connsiteX2" fmla="*/ 3194302 w 3194302"/>
              <a:gd name="connsiteY2" fmla="*/ 2173247 h 6920543"/>
              <a:gd name="connsiteX3" fmla="*/ 2182366 w 3194302"/>
              <a:gd name="connsiteY3" fmla="*/ 6920543 h 6920543"/>
              <a:gd name="connsiteX4" fmla="*/ 0 w 3194302"/>
              <a:gd name="connsiteY4" fmla="*/ 6918960 h 6920543"/>
              <a:gd name="connsiteX5" fmla="*/ 0 w 3194302"/>
              <a:gd name="connsiteY5" fmla="*/ 6918960 h 6920543"/>
              <a:gd name="connsiteX6" fmla="*/ 877824 w 3194302"/>
              <a:gd name="connsiteY6" fmla="*/ 2148863 h 6920543"/>
              <a:gd name="connsiteX7" fmla="*/ 39647 w 3194302"/>
              <a:gd name="connsiteY7" fmla="*/ 0 h 692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94302" h="6920543">
                <a:moveTo>
                  <a:pt x="39647" y="0"/>
                </a:moveTo>
                <a:lnTo>
                  <a:pt x="2435327" y="0"/>
                </a:lnTo>
                <a:lnTo>
                  <a:pt x="3194302" y="2173247"/>
                </a:lnTo>
                <a:lnTo>
                  <a:pt x="2182366" y="6920543"/>
                </a:lnTo>
                <a:lnTo>
                  <a:pt x="0" y="6918960"/>
                </a:lnTo>
                <a:lnTo>
                  <a:pt x="0" y="6918960"/>
                </a:lnTo>
                <a:lnTo>
                  <a:pt x="877824" y="2148863"/>
                </a:lnTo>
                <a:lnTo>
                  <a:pt x="39647" y="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953422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060873" y="0"/>
            <a:ext cx="3131127" cy="6858000"/>
          </a:xfr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713316" y="0"/>
            <a:ext cx="3430939" cy="6859582"/>
          </a:xfrm>
          <a:custGeom>
            <a:avLst/>
            <a:gdLst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0 w 7424926"/>
              <a:gd name="connsiteY7" fmla="*/ 1149119 h 6894576"/>
              <a:gd name="connsiteX8" fmla="*/ 1149119 w 7424926"/>
              <a:gd name="connsiteY8" fmla="*/ 0 h 6894576"/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877824 w 7424926"/>
              <a:gd name="connsiteY7" fmla="*/ 2124479 h 6894576"/>
              <a:gd name="connsiteX8" fmla="*/ 1149119 w 7424926"/>
              <a:gd name="connsiteY8" fmla="*/ 0 h 6894576"/>
              <a:gd name="connsiteX0" fmla="*/ 39647 w 7424926"/>
              <a:gd name="connsiteY0" fmla="*/ 0 h 6918960"/>
              <a:gd name="connsiteX1" fmla="*/ 6275807 w 7424926"/>
              <a:gd name="connsiteY1" fmla="*/ 24384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6559294 w 7424926"/>
              <a:gd name="connsiteY4" fmla="*/ 6906768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6559294"/>
              <a:gd name="connsiteY0" fmla="*/ 0 h 6943344"/>
              <a:gd name="connsiteX1" fmla="*/ 2435327 w 6559294"/>
              <a:gd name="connsiteY1" fmla="*/ 0 h 6943344"/>
              <a:gd name="connsiteX2" fmla="*/ 3145534 w 6559294"/>
              <a:gd name="connsiteY2" fmla="*/ 1880639 h 6943344"/>
              <a:gd name="connsiteX3" fmla="*/ 1865374 w 6559294"/>
              <a:gd name="connsiteY3" fmla="*/ 6943344 h 6943344"/>
              <a:gd name="connsiteX4" fmla="*/ 6559294 w 6559294"/>
              <a:gd name="connsiteY4" fmla="*/ 6906768 h 6943344"/>
              <a:gd name="connsiteX5" fmla="*/ 0 w 6559294"/>
              <a:gd name="connsiteY5" fmla="*/ 6918960 h 6943344"/>
              <a:gd name="connsiteX6" fmla="*/ 0 w 6559294"/>
              <a:gd name="connsiteY6" fmla="*/ 6918960 h 6943344"/>
              <a:gd name="connsiteX7" fmla="*/ 877824 w 6559294"/>
              <a:gd name="connsiteY7" fmla="*/ 2148863 h 6943344"/>
              <a:gd name="connsiteX8" fmla="*/ 39647 w 6559294"/>
              <a:gd name="connsiteY8" fmla="*/ 0 h 6943344"/>
              <a:gd name="connsiteX0" fmla="*/ 39647 w 3145534"/>
              <a:gd name="connsiteY0" fmla="*/ 0 h 6943344"/>
              <a:gd name="connsiteX1" fmla="*/ 2435327 w 3145534"/>
              <a:gd name="connsiteY1" fmla="*/ 0 h 6943344"/>
              <a:gd name="connsiteX2" fmla="*/ 3145534 w 3145534"/>
              <a:gd name="connsiteY2" fmla="*/ 1880639 h 6943344"/>
              <a:gd name="connsiteX3" fmla="*/ 1865374 w 3145534"/>
              <a:gd name="connsiteY3" fmla="*/ 6943344 h 6943344"/>
              <a:gd name="connsiteX4" fmla="*/ 1670302 w 3145534"/>
              <a:gd name="connsiteY4" fmla="*/ 6931152 h 6943344"/>
              <a:gd name="connsiteX5" fmla="*/ 0 w 3145534"/>
              <a:gd name="connsiteY5" fmla="*/ 6918960 h 6943344"/>
              <a:gd name="connsiteX6" fmla="*/ 0 w 3145534"/>
              <a:gd name="connsiteY6" fmla="*/ 6918960 h 6943344"/>
              <a:gd name="connsiteX7" fmla="*/ 877824 w 3145534"/>
              <a:gd name="connsiteY7" fmla="*/ 2148863 h 6943344"/>
              <a:gd name="connsiteX8" fmla="*/ 39647 w 3145534"/>
              <a:gd name="connsiteY8" fmla="*/ 0 h 6943344"/>
              <a:gd name="connsiteX0" fmla="*/ 39647 w 3145534"/>
              <a:gd name="connsiteY0" fmla="*/ 0 h 6955536"/>
              <a:gd name="connsiteX1" fmla="*/ 2435327 w 3145534"/>
              <a:gd name="connsiteY1" fmla="*/ 0 h 6955536"/>
              <a:gd name="connsiteX2" fmla="*/ 3145534 w 3145534"/>
              <a:gd name="connsiteY2" fmla="*/ 1880639 h 6955536"/>
              <a:gd name="connsiteX3" fmla="*/ 1865374 w 3145534"/>
              <a:gd name="connsiteY3" fmla="*/ 6943344 h 6955536"/>
              <a:gd name="connsiteX4" fmla="*/ 1816606 w 3145534"/>
              <a:gd name="connsiteY4" fmla="*/ 6955536 h 6955536"/>
              <a:gd name="connsiteX5" fmla="*/ 0 w 3145534"/>
              <a:gd name="connsiteY5" fmla="*/ 6918960 h 6955536"/>
              <a:gd name="connsiteX6" fmla="*/ 0 w 3145534"/>
              <a:gd name="connsiteY6" fmla="*/ 6918960 h 6955536"/>
              <a:gd name="connsiteX7" fmla="*/ 877824 w 3145534"/>
              <a:gd name="connsiteY7" fmla="*/ 2148863 h 6955536"/>
              <a:gd name="connsiteX8" fmla="*/ 39647 w 3145534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1865374 w 3194302"/>
              <a:gd name="connsiteY3" fmla="*/ 6943344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2036062 w 3194302"/>
              <a:gd name="connsiteY3" fmla="*/ 6955536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1816606 w 3194302"/>
              <a:gd name="connsiteY4" fmla="*/ 6955536 h 6979920"/>
              <a:gd name="connsiteX5" fmla="*/ 0 w 3194302"/>
              <a:gd name="connsiteY5" fmla="*/ 6918960 h 6979920"/>
              <a:gd name="connsiteX6" fmla="*/ 0 w 3194302"/>
              <a:gd name="connsiteY6" fmla="*/ 6918960 h 6979920"/>
              <a:gd name="connsiteX7" fmla="*/ 877824 w 3194302"/>
              <a:gd name="connsiteY7" fmla="*/ 2148863 h 6979920"/>
              <a:gd name="connsiteX8" fmla="*/ 39647 w 3194302"/>
              <a:gd name="connsiteY8" fmla="*/ 0 h 6979920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0 w 3194302"/>
              <a:gd name="connsiteY4" fmla="*/ 6918960 h 6979920"/>
              <a:gd name="connsiteX5" fmla="*/ 0 w 3194302"/>
              <a:gd name="connsiteY5" fmla="*/ 6918960 h 6979920"/>
              <a:gd name="connsiteX6" fmla="*/ 877824 w 3194302"/>
              <a:gd name="connsiteY6" fmla="*/ 2148863 h 6979920"/>
              <a:gd name="connsiteX7" fmla="*/ 39647 w 3194302"/>
              <a:gd name="connsiteY7" fmla="*/ 0 h 6979920"/>
              <a:gd name="connsiteX0" fmla="*/ 39647 w 3194302"/>
              <a:gd name="connsiteY0" fmla="*/ 0 h 6920543"/>
              <a:gd name="connsiteX1" fmla="*/ 2435327 w 3194302"/>
              <a:gd name="connsiteY1" fmla="*/ 0 h 6920543"/>
              <a:gd name="connsiteX2" fmla="*/ 3194302 w 3194302"/>
              <a:gd name="connsiteY2" fmla="*/ 2173247 h 6920543"/>
              <a:gd name="connsiteX3" fmla="*/ 2182366 w 3194302"/>
              <a:gd name="connsiteY3" fmla="*/ 6920543 h 6920543"/>
              <a:gd name="connsiteX4" fmla="*/ 0 w 3194302"/>
              <a:gd name="connsiteY4" fmla="*/ 6918960 h 6920543"/>
              <a:gd name="connsiteX5" fmla="*/ 0 w 3194302"/>
              <a:gd name="connsiteY5" fmla="*/ 6918960 h 6920543"/>
              <a:gd name="connsiteX6" fmla="*/ 877824 w 3194302"/>
              <a:gd name="connsiteY6" fmla="*/ 2148863 h 6920543"/>
              <a:gd name="connsiteX7" fmla="*/ 39647 w 3194302"/>
              <a:gd name="connsiteY7" fmla="*/ 0 h 692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94302" h="6920543">
                <a:moveTo>
                  <a:pt x="39647" y="0"/>
                </a:moveTo>
                <a:lnTo>
                  <a:pt x="2435327" y="0"/>
                </a:lnTo>
                <a:lnTo>
                  <a:pt x="3194302" y="2173247"/>
                </a:lnTo>
                <a:lnTo>
                  <a:pt x="2182366" y="6920543"/>
                </a:lnTo>
                <a:lnTo>
                  <a:pt x="0" y="6918960"/>
                </a:lnTo>
                <a:lnTo>
                  <a:pt x="0" y="6918960"/>
                </a:lnTo>
                <a:lnTo>
                  <a:pt x="877824" y="2148863"/>
                </a:lnTo>
                <a:lnTo>
                  <a:pt x="39647" y="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-55660" y="0"/>
            <a:ext cx="5762233" cy="6865951"/>
          </a:xfrm>
          <a:custGeom>
            <a:avLst/>
            <a:gdLst>
              <a:gd name="connsiteX0" fmla="*/ 5 w 4890977"/>
              <a:gd name="connsiteY0" fmla="*/ 2632582 h 6892206"/>
              <a:gd name="connsiteX1" fmla="*/ 2445489 w 4890977"/>
              <a:gd name="connsiteY1" fmla="*/ 0 h 6892206"/>
              <a:gd name="connsiteX2" fmla="*/ 4890972 w 4890977"/>
              <a:gd name="connsiteY2" fmla="*/ 2632582 h 6892206"/>
              <a:gd name="connsiteX3" fmla="*/ 3956880 w 4890977"/>
              <a:gd name="connsiteY3" fmla="*/ 6892188 h 6892206"/>
              <a:gd name="connsiteX4" fmla="*/ 934097 w 4890977"/>
              <a:gd name="connsiteY4" fmla="*/ 6892188 h 6892206"/>
              <a:gd name="connsiteX5" fmla="*/ 5 w 4890977"/>
              <a:gd name="connsiteY5" fmla="*/ 2632582 h 6892206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3956875 w 5730939"/>
              <a:gd name="connsiteY3" fmla="*/ 6892188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32582 h 6892188"/>
              <a:gd name="connsiteX1" fmla="*/ 2445484 w 5730939"/>
              <a:gd name="connsiteY1" fmla="*/ 0 h 6892188"/>
              <a:gd name="connsiteX2" fmla="*/ 5730939 w 5730939"/>
              <a:gd name="connsiteY2" fmla="*/ 3461922 h 6892188"/>
              <a:gd name="connsiteX3" fmla="*/ 4871275 w 5730939"/>
              <a:gd name="connsiteY3" fmla="*/ 6860291 h 6892188"/>
              <a:gd name="connsiteX4" fmla="*/ 934092 w 5730939"/>
              <a:gd name="connsiteY4" fmla="*/ 6892188 h 6892188"/>
              <a:gd name="connsiteX5" fmla="*/ 0 w 5730939"/>
              <a:gd name="connsiteY5" fmla="*/ 2632582 h 6892188"/>
              <a:gd name="connsiteX0" fmla="*/ 0 w 5730939"/>
              <a:gd name="connsiteY0" fmla="*/ 2675113 h 6934719"/>
              <a:gd name="connsiteX1" fmla="*/ 4890973 w 5730939"/>
              <a:gd name="connsiteY1" fmla="*/ 0 h 6934719"/>
              <a:gd name="connsiteX2" fmla="*/ 5730939 w 5730939"/>
              <a:gd name="connsiteY2" fmla="*/ 3504453 h 6934719"/>
              <a:gd name="connsiteX3" fmla="*/ 4871275 w 5730939"/>
              <a:gd name="connsiteY3" fmla="*/ 6902822 h 6934719"/>
              <a:gd name="connsiteX4" fmla="*/ 934092 w 5730939"/>
              <a:gd name="connsiteY4" fmla="*/ 6934719 h 6934719"/>
              <a:gd name="connsiteX5" fmla="*/ 0 w 5730939"/>
              <a:gd name="connsiteY5" fmla="*/ 2675113 h 6934719"/>
              <a:gd name="connsiteX0" fmla="*/ 0 w 5773469"/>
              <a:gd name="connsiteY0" fmla="*/ 102034 h 6934719"/>
              <a:gd name="connsiteX1" fmla="*/ 4933503 w 5773469"/>
              <a:gd name="connsiteY1" fmla="*/ 0 h 6934719"/>
              <a:gd name="connsiteX2" fmla="*/ 5773469 w 5773469"/>
              <a:gd name="connsiteY2" fmla="*/ 3504453 h 6934719"/>
              <a:gd name="connsiteX3" fmla="*/ 4913805 w 5773469"/>
              <a:gd name="connsiteY3" fmla="*/ 6902822 h 6934719"/>
              <a:gd name="connsiteX4" fmla="*/ 976622 w 5773469"/>
              <a:gd name="connsiteY4" fmla="*/ 6934719 h 6934719"/>
              <a:gd name="connsiteX5" fmla="*/ 0 w 5773469"/>
              <a:gd name="connsiteY5" fmla="*/ 102034 h 6934719"/>
              <a:gd name="connsiteX0" fmla="*/ 0 w 5773469"/>
              <a:gd name="connsiteY0" fmla="*/ 16794 h 6849479"/>
              <a:gd name="connsiteX1" fmla="*/ 4956751 w 5773469"/>
              <a:gd name="connsiteY1" fmla="*/ 0 h 6849479"/>
              <a:gd name="connsiteX2" fmla="*/ 5773469 w 5773469"/>
              <a:gd name="connsiteY2" fmla="*/ 3419213 h 6849479"/>
              <a:gd name="connsiteX3" fmla="*/ 4913805 w 5773469"/>
              <a:gd name="connsiteY3" fmla="*/ 6817582 h 6849479"/>
              <a:gd name="connsiteX4" fmla="*/ 976622 w 5773469"/>
              <a:gd name="connsiteY4" fmla="*/ 6849479 h 6849479"/>
              <a:gd name="connsiteX5" fmla="*/ 0 w 5773469"/>
              <a:gd name="connsiteY5" fmla="*/ 16794 h 6849479"/>
              <a:gd name="connsiteX0" fmla="*/ 0 w 5719224"/>
              <a:gd name="connsiteY0" fmla="*/ 0 h 6863681"/>
              <a:gd name="connsiteX1" fmla="*/ 4902506 w 5719224"/>
              <a:gd name="connsiteY1" fmla="*/ 14202 h 6863681"/>
              <a:gd name="connsiteX2" fmla="*/ 5719224 w 5719224"/>
              <a:gd name="connsiteY2" fmla="*/ 3433415 h 6863681"/>
              <a:gd name="connsiteX3" fmla="*/ 4859560 w 5719224"/>
              <a:gd name="connsiteY3" fmla="*/ 6831784 h 6863681"/>
              <a:gd name="connsiteX4" fmla="*/ 922377 w 5719224"/>
              <a:gd name="connsiteY4" fmla="*/ 6863681 h 6863681"/>
              <a:gd name="connsiteX5" fmla="*/ 0 w 5719224"/>
              <a:gd name="connsiteY5" fmla="*/ 0 h 6863681"/>
              <a:gd name="connsiteX0" fmla="*/ 0 w 5719224"/>
              <a:gd name="connsiteY0" fmla="*/ 1296 h 6864977"/>
              <a:gd name="connsiteX1" fmla="*/ 4871509 w 5719224"/>
              <a:gd name="connsiteY1" fmla="*/ 0 h 6864977"/>
              <a:gd name="connsiteX2" fmla="*/ 5719224 w 5719224"/>
              <a:gd name="connsiteY2" fmla="*/ 3434711 h 6864977"/>
              <a:gd name="connsiteX3" fmla="*/ 4859560 w 5719224"/>
              <a:gd name="connsiteY3" fmla="*/ 6833080 h 6864977"/>
              <a:gd name="connsiteX4" fmla="*/ 922377 w 5719224"/>
              <a:gd name="connsiteY4" fmla="*/ 6864977 h 6864977"/>
              <a:gd name="connsiteX5" fmla="*/ 0 w 5719224"/>
              <a:gd name="connsiteY5" fmla="*/ 1296 h 686497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59560 w 5719224"/>
              <a:gd name="connsiteY3" fmla="*/ 6833080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1296 h 6893257"/>
              <a:gd name="connsiteX1" fmla="*/ 4871509 w 5719224"/>
              <a:gd name="connsiteY1" fmla="*/ 0 h 6893257"/>
              <a:gd name="connsiteX2" fmla="*/ 5719224 w 5719224"/>
              <a:gd name="connsiteY2" fmla="*/ 3434711 h 6893257"/>
              <a:gd name="connsiteX3" fmla="*/ 4831279 w 5719224"/>
              <a:gd name="connsiteY3" fmla="*/ 6880214 h 6893257"/>
              <a:gd name="connsiteX4" fmla="*/ 17404 w 5719224"/>
              <a:gd name="connsiteY4" fmla="*/ 6893257 h 6893257"/>
              <a:gd name="connsiteX5" fmla="*/ 0 w 5719224"/>
              <a:gd name="connsiteY5" fmla="*/ 1296 h 6893257"/>
              <a:gd name="connsiteX0" fmla="*/ 0 w 5719224"/>
              <a:gd name="connsiteY0" fmla="*/ 62256 h 6954217"/>
              <a:gd name="connsiteX1" fmla="*/ 4847125 w 5719224"/>
              <a:gd name="connsiteY1" fmla="*/ 0 h 6954217"/>
              <a:gd name="connsiteX2" fmla="*/ 5719224 w 5719224"/>
              <a:gd name="connsiteY2" fmla="*/ 3495671 h 6954217"/>
              <a:gd name="connsiteX3" fmla="*/ 4831279 w 5719224"/>
              <a:gd name="connsiteY3" fmla="*/ 6941174 h 6954217"/>
              <a:gd name="connsiteX4" fmla="*/ 17404 w 5719224"/>
              <a:gd name="connsiteY4" fmla="*/ 6954217 h 6954217"/>
              <a:gd name="connsiteX5" fmla="*/ 0 w 5719224"/>
              <a:gd name="connsiteY5" fmla="*/ 62256 h 6954217"/>
              <a:gd name="connsiteX0" fmla="*/ 0 w 5731416"/>
              <a:gd name="connsiteY0" fmla="*/ 1296 h 6954217"/>
              <a:gd name="connsiteX1" fmla="*/ 4859317 w 5731416"/>
              <a:gd name="connsiteY1" fmla="*/ 0 h 6954217"/>
              <a:gd name="connsiteX2" fmla="*/ 5731416 w 5731416"/>
              <a:gd name="connsiteY2" fmla="*/ 3495671 h 6954217"/>
              <a:gd name="connsiteX3" fmla="*/ 4843471 w 5731416"/>
              <a:gd name="connsiteY3" fmla="*/ 6941174 h 6954217"/>
              <a:gd name="connsiteX4" fmla="*/ 29596 w 5731416"/>
              <a:gd name="connsiteY4" fmla="*/ 6954217 h 6954217"/>
              <a:gd name="connsiteX5" fmla="*/ 0 w 5731416"/>
              <a:gd name="connsiteY5" fmla="*/ 1296 h 6954217"/>
              <a:gd name="connsiteX0" fmla="*/ 0 w 5731416"/>
              <a:gd name="connsiteY0" fmla="*/ 1296 h 7002134"/>
              <a:gd name="connsiteX1" fmla="*/ 4859317 w 5731416"/>
              <a:gd name="connsiteY1" fmla="*/ 0 h 7002134"/>
              <a:gd name="connsiteX2" fmla="*/ 5731416 w 5731416"/>
              <a:gd name="connsiteY2" fmla="*/ 3495671 h 7002134"/>
              <a:gd name="connsiteX3" fmla="*/ 4831279 w 5731416"/>
              <a:gd name="connsiteY3" fmla="*/ 7002134 h 7002134"/>
              <a:gd name="connsiteX4" fmla="*/ 29596 w 5731416"/>
              <a:gd name="connsiteY4" fmla="*/ 6954217 h 7002134"/>
              <a:gd name="connsiteX5" fmla="*/ 0 w 5731416"/>
              <a:gd name="connsiteY5" fmla="*/ 1296 h 7002134"/>
              <a:gd name="connsiteX0" fmla="*/ 8116 w 5739532"/>
              <a:gd name="connsiteY0" fmla="*/ 1296 h 7002134"/>
              <a:gd name="connsiteX1" fmla="*/ 4867433 w 5739532"/>
              <a:gd name="connsiteY1" fmla="*/ 0 h 7002134"/>
              <a:gd name="connsiteX2" fmla="*/ 5739532 w 5739532"/>
              <a:gd name="connsiteY2" fmla="*/ 3495671 h 7002134"/>
              <a:gd name="connsiteX3" fmla="*/ 4839395 w 5739532"/>
              <a:gd name="connsiteY3" fmla="*/ 7002134 h 7002134"/>
              <a:gd name="connsiteX4" fmla="*/ 1136 w 5739532"/>
              <a:gd name="connsiteY4" fmla="*/ 6990793 h 7002134"/>
              <a:gd name="connsiteX5" fmla="*/ 8116 w 5739532"/>
              <a:gd name="connsiteY5" fmla="*/ 1296 h 7002134"/>
              <a:gd name="connsiteX0" fmla="*/ 8116 w 5678572"/>
              <a:gd name="connsiteY0" fmla="*/ 1296 h 7002134"/>
              <a:gd name="connsiteX1" fmla="*/ 4867433 w 5678572"/>
              <a:gd name="connsiteY1" fmla="*/ 0 h 7002134"/>
              <a:gd name="connsiteX2" fmla="*/ 5678572 w 5678572"/>
              <a:gd name="connsiteY2" fmla="*/ 1983863 h 7002134"/>
              <a:gd name="connsiteX3" fmla="*/ 4839395 w 5678572"/>
              <a:gd name="connsiteY3" fmla="*/ 7002134 h 7002134"/>
              <a:gd name="connsiteX4" fmla="*/ 1136 w 5678572"/>
              <a:gd name="connsiteY4" fmla="*/ 6990793 h 7002134"/>
              <a:gd name="connsiteX5" fmla="*/ 8116 w 5678572"/>
              <a:gd name="connsiteY5" fmla="*/ 1296 h 7002134"/>
              <a:gd name="connsiteX0" fmla="*/ 8116 w 5702956"/>
              <a:gd name="connsiteY0" fmla="*/ 1296 h 7002134"/>
              <a:gd name="connsiteX1" fmla="*/ 4867433 w 5702956"/>
              <a:gd name="connsiteY1" fmla="*/ 0 h 7002134"/>
              <a:gd name="connsiteX2" fmla="*/ 5702956 w 5702956"/>
              <a:gd name="connsiteY2" fmla="*/ 2154551 h 7002134"/>
              <a:gd name="connsiteX3" fmla="*/ 4839395 w 5702956"/>
              <a:gd name="connsiteY3" fmla="*/ 7002134 h 7002134"/>
              <a:gd name="connsiteX4" fmla="*/ 1136 w 5702956"/>
              <a:gd name="connsiteY4" fmla="*/ 6990793 h 7002134"/>
              <a:gd name="connsiteX5" fmla="*/ 8116 w 5702956"/>
              <a:gd name="connsiteY5" fmla="*/ 1296 h 70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02956" h="7002134">
                <a:moveTo>
                  <a:pt x="8116" y="1296"/>
                </a:moveTo>
                <a:lnTo>
                  <a:pt x="4867433" y="0"/>
                </a:lnTo>
                <a:lnTo>
                  <a:pt x="5702956" y="2154551"/>
                </a:lnTo>
                <a:lnTo>
                  <a:pt x="4839395" y="7002134"/>
                </a:lnTo>
                <a:lnTo>
                  <a:pt x="1136" y="6990793"/>
                </a:lnTo>
                <a:cubicBezTo>
                  <a:pt x="-4665" y="4693473"/>
                  <a:pt x="13917" y="2298616"/>
                  <a:pt x="8116" y="1296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457200" tIns="1920240" rIns="365760" anchor="t" anchorCtr="0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005413" y="0"/>
            <a:ext cx="3470136" cy="6859582"/>
          </a:xfrm>
          <a:custGeom>
            <a:avLst/>
            <a:gdLst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0 w 7424926"/>
              <a:gd name="connsiteY7" fmla="*/ 1149119 h 6894576"/>
              <a:gd name="connsiteX8" fmla="*/ 1149119 w 7424926"/>
              <a:gd name="connsiteY8" fmla="*/ 0 h 6894576"/>
              <a:gd name="connsiteX0" fmla="*/ 1149119 w 7424926"/>
              <a:gd name="connsiteY0" fmla="*/ 0 h 6894576"/>
              <a:gd name="connsiteX1" fmla="*/ 6275807 w 7424926"/>
              <a:gd name="connsiteY1" fmla="*/ 0 h 6894576"/>
              <a:gd name="connsiteX2" fmla="*/ 7424926 w 7424926"/>
              <a:gd name="connsiteY2" fmla="*/ 1149119 h 6894576"/>
              <a:gd name="connsiteX3" fmla="*/ 7424926 w 7424926"/>
              <a:gd name="connsiteY3" fmla="*/ 6894576 h 6894576"/>
              <a:gd name="connsiteX4" fmla="*/ 7424926 w 7424926"/>
              <a:gd name="connsiteY4" fmla="*/ 6894576 h 6894576"/>
              <a:gd name="connsiteX5" fmla="*/ 0 w 7424926"/>
              <a:gd name="connsiteY5" fmla="*/ 6894576 h 6894576"/>
              <a:gd name="connsiteX6" fmla="*/ 0 w 7424926"/>
              <a:gd name="connsiteY6" fmla="*/ 6894576 h 6894576"/>
              <a:gd name="connsiteX7" fmla="*/ 877824 w 7424926"/>
              <a:gd name="connsiteY7" fmla="*/ 2124479 h 6894576"/>
              <a:gd name="connsiteX8" fmla="*/ 1149119 w 7424926"/>
              <a:gd name="connsiteY8" fmla="*/ 0 h 6894576"/>
              <a:gd name="connsiteX0" fmla="*/ 39647 w 7424926"/>
              <a:gd name="connsiteY0" fmla="*/ 0 h 6918960"/>
              <a:gd name="connsiteX1" fmla="*/ 6275807 w 7424926"/>
              <a:gd name="connsiteY1" fmla="*/ 24384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7424926 w 7424926"/>
              <a:gd name="connsiteY2" fmla="*/ 1173503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7424926 w 7424926"/>
              <a:gd name="connsiteY4" fmla="*/ 6918960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7424926"/>
              <a:gd name="connsiteY0" fmla="*/ 0 h 6918960"/>
              <a:gd name="connsiteX1" fmla="*/ 2435327 w 7424926"/>
              <a:gd name="connsiteY1" fmla="*/ 0 h 6918960"/>
              <a:gd name="connsiteX2" fmla="*/ 3145534 w 7424926"/>
              <a:gd name="connsiteY2" fmla="*/ 1880639 h 6918960"/>
              <a:gd name="connsiteX3" fmla="*/ 7424926 w 7424926"/>
              <a:gd name="connsiteY3" fmla="*/ 6918960 h 6918960"/>
              <a:gd name="connsiteX4" fmla="*/ 6559294 w 7424926"/>
              <a:gd name="connsiteY4" fmla="*/ 6906768 h 6918960"/>
              <a:gd name="connsiteX5" fmla="*/ 0 w 7424926"/>
              <a:gd name="connsiteY5" fmla="*/ 6918960 h 6918960"/>
              <a:gd name="connsiteX6" fmla="*/ 0 w 7424926"/>
              <a:gd name="connsiteY6" fmla="*/ 6918960 h 6918960"/>
              <a:gd name="connsiteX7" fmla="*/ 877824 w 7424926"/>
              <a:gd name="connsiteY7" fmla="*/ 2148863 h 6918960"/>
              <a:gd name="connsiteX8" fmla="*/ 39647 w 7424926"/>
              <a:gd name="connsiteY8" fmla="*/ 0 h 6918960"/>
              <a:gd name="connsiteX0" fmla="*/ 39647 w 6559294"/>
              <a:gd name="connsiteY0" fmla="*/ 0 h 6943344"/>
              <a:gd name="connsiteX1" fmla="*/ 2435327 w 6559294"/>
              <a:gd name="connsiteY1" fmla="*/ 0 h 6943344"/>
              <a:gd name="connsiteX2" fmla="*/ 3145534 w 6559294"/>
              <a:gd name="connsiteY2" fmla="*/ 1880639 h 6943344"/>
              <a:gd name="connsiteX3" fmla="*/ 1865374 w 6559294"/>
              <a:gd name="connsiteY3" fmla="*/ 6943344 h 6943344"/>
              <a:gd name="connsiteX4" fmla="*/ 6559294 w 6559294"/>
              <a:gd name="connsiteY4" fmla="*/ 6906768 h 6943344"/>
              <a:gd name="connsiteX5" fmla="*/ 0 w 6559294"/>
              <a:gd name="connsiteY5" fmla="*/ 6918960 h 6943344"/>
              <a:gd name="connsiteX6" fmla="*/ 0 w 6559294"/>
              <a:gd name="connsiteY6" fmla="*/ 6918960 h 6943344"/>
              <a:gd name="connsiteX7" fmla="*/ 877824 w 6559294"/>
              <a:gd name="connsiteY7" fmla="*/ 2148863 h 6943344"/>
              <a:gd name="connsiteX8" fmla="*/ 39647 w 6559294"/>
              <a:gd name="connsiteY8" fmla="*/ 0 h 6943344"/>
              <a:gd name="connsiteX0" fmla="*/ 39647 w 3145534"/>
              <a:gd name="connsiteY0" fmla="*/ 0 h 6943344"/>
              <a:gd name="connsiteX1" fmla="*/ 2435327 w 3145534"/>
              <a:gd name="connsiteY1" fmla="*/ 0 h 6943344"/>
              <a:gd name="connsiteX2" fmla="*/ 3145534 w 3145534"/>
              <a:gd name="connsiteY2" fmla="*/ 1880639 h 6943344"/>
              <a:gd name="connsiteX3" fmla="*/ 1865374 w 3145534"/>
              <a:gd name="connsiteY3" fmla="*/ 6943344 h 6943344"/>
              <a:gd name="connsiteX4" fmla="*/ 1670302 w 3145534"/>
              <a:gd name="connsiteY4" fmla="*/ 6931152 h 6943344"/>
              <a:gd name="connsiteX5" fmla="*/ 0 w 3145534"/>
              <a:gd name="connsiteY5" fmla="*/ 6918960 h 6943344"/>
              <a:gd name="connsiteX6" fmla="*/ 0 w 3145534"/>
              <a:gd name="connsiteY6" fmla="*/ 6918960 h 6943344"/>
              <a:gd name="connsiteX7" fmla="*/ 877824 w 3145534"/>
              <a:gd name="connsiteY7" fmla="*/ 2148863 h 6943344"/>
              <a:gd name="connsiteX8" fmla="*/ 39647 w 3145534"/>
              <a:gd name="connsiteY8" fmla="*/ 0 h 6943344"/>
              <a:gd name="connsiteX0" fmla="*/ 39647 w 3145534"/>
              <a:gd name="connsiteY0" fmla="*/ 0 h 6955536"/>
              <a:gd name="connsiteX1" fmla="*/ 2435327 w 3145534"/>
              <a:gd name="connsiteY1" fmla="*/ 0 h 6955536"/>
              <a:gd name="connsiteX2" fmla="*/ 3145534 w 3145534"/>
              <a:gd name="connsiteY2" fmla="*/ 1880639 h 6955536"/>
              <a:gd name="connsiteX3" fmla="*/ 1865374 w 3145534"/>
              <a:gd name="connsiteY3" fmla="*/ 6943344 h 6955536"/>
              <a:gd name="connsiteX4" fmla="*/ 1816606 w 3145534"/>
              <a:gd name="connsiteY4" fmla="*/ 6955536 h 6955536"/>
              <a:gd name="connsiteX5" fmla="*/ 0 w 3145534"/>
              <a:gd name="connsiteY5" fmla="*/ 6918960 h 6955536"/>
              <a:gd name="connsiteX6" fmla="*/ 0 w 3145534"/>
              <a:gd name="connsiteY6" fmla="*/ 6918960 h 6955536"/>
              <a:gd name="connsiteX7" fmla="*/ 877824 w 3145534"/>
              <a:gd name="connsiteY7" fmla="*/ 2148863 h 6955536"/>
              <a:gd name="connsiteX8" fmla="*/ 39647 w 3145534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1865374 w 3194302"/>
              <a:gd name="connsiteY3" fmla="*/ 6943344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55536"/>
              <a:gd name="connsiteX1" fmla="*/ 2435327 w 3194302"/>
              <a:gd name="connsiteY1" fmla="*/ 0 h 6955536"/>
              <a:gd name="connsiteX2" fmla="*/ 3194302 w 3194302"/>
              <a:gd name="connsiteY2" fmla="*/ 2173247 h 6955536"/>
              <a:gd name="connsiteX3" fmla="*/ 2036062 w 3194302"/>
              <a:gd name="connsiteY3" fmla="*/ 6955536 h 6955536"/>
              <a:gd name="connsiteX4" fmla="*/ 1816606 w 3194302"/>
              <a:gd name="connsiteY4" fmla="*/ 6955536 h 6955536"/>
              <a:gd name="connsiteX5" fmla="*/ 0 w 3194302"/>
              <a:gd name="connsiteY5" fmla="*/ 6918960 h 6955536"/>
              <a:gd name="connsiteX6" fmla="*/ 0 w 3194302"/>
              <a:gd name="connsiteY6" fmla="*/ 6918960 h 6955536"/>
              <a:gd name="connsiteX7" fmla="*/ 877824 w 3194302"/>
              <a:gd name="connsiteY7" fmla="*/ 2148863 h 6955536"/>
              <a:gd name="connsiteX8" fmla="*/ 39647 w 3194302"/>
              <a:gd name="connsiteY8" fmla="*/ 0 h 6955536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1816606 w 3194302"/>
              <a:gd name="connsiteY4" fmla="*/ 6955536 h 6979920"/>
              <a:gd name="connsiteX5" fmla="*/ 0 w 3194302"/>
              <a:gd name="connsiteY5" fmla="*/ 6918960 h 6979920"/>
              <a:gd name="connsiteX6" fmla="*/ 0 w 3194302"/>
              <a:gd name="connsiteY6" fmla="*/ 6918960 h 6979920"/>
              <a:gd name="connsiteX7" fmla="*/ 877824 w 3194302"/>
              <a:gd name="connsiteY7" fmla="*/ 2148863 h 6979920"/>
              <a:gd name="connsiteX8" fmla="*/ 39647 w 3194302"/>
              <a:gd name="connsiteY8" fmla="*/ 0 h 6979920"/>
              <a:gd name="connsiteX0" fmla="*/ 39647 w 3194302"/>
              <a:gd name="connsiteY0" fmla="*/ 0 h 6979920"/>
              <a:gd name="connsiteX1" fmla="*/ 2435327 w 3194302"/>
              <a:gd name="connsiteY1" fmla="*/ 0 h 6979920"/>
              <a:gd name="connsiteX2" fmla="*/ 3194302 w 3194302"/>
              <a:gd name="connsiteY2" fmla="*/ 2173247 h 6979920"/>
              <a:gd name="connsiteX3" fmla="*/ 2182366 w 3194302"/>
              <a:gd name="connsiteY3" fmla="*/ 6979920 h 6979920"/>
              <a:gd name="connsiteX4" fmla="*/ 0 w 3194302"/>
              <a:gd name="connsiteY4" fmla="*/ 6918960 h 6979920"/>
              <a:gd name="connsiteX5" fmla="*/ 0 w 3194302"/>
              <a:gd name="connsiteY5" fmla="*/ 6918960 h 6979920"/>
              <a:gd name="connsiteX6" fmla="*/ 877824 w 3194302"/>
              <a:gd name="connsiteY6" fmla="*/ 2148863 h 6979920"/>
              <a:gd name="connsiteX7" fmla="*/ 39647 w 3194302"/>
              <a:gd name="connsiteY7" fmla="*/ 0 h 6979920"/>
              <a:gd name="connsiteX0" fmla="*/ 39647 w 3194302"/>
              <a:gd name="connsiteY0" fmla="*/ 0 h 6920543"/>
              <a:gd name="connsiteX1" fmla="*/ 2435327 w 3194302"/>
              <a:gd name="connsiteY1" fmla="*/ 0 h 6920543"/>
              <a:gd name="connsiteX2" fmla="*/ 3194302 w 3194302"/>
              <a:gd name="connsiteY2" fmla="*/ 2173247 h 6920543"/>
              <a:gd name="connsiteX3" fmla="*/ 2182366 w 3194302"/>
              <a:gd name="connsiteY3" fmla="*/ 6920543 h 6920543"/>
              <a:gd name="connsiteX4" fmla="*/ 0 w 3194302"/>
              <a:gd name="connsiteY4" fmla="*/ 6918960 h 6920543"/>
              <a:gd name="connsiteX5" fmla="*/ 0 w 3194302"/>
              <a:gd name="connsiteY5" fmla="*/ 6918960 h 6920543"/>
              <a:gd name="connsiteX6" fmla="*/ 877824 w 3194302"/>
              <a:gd name="connsiteY6" fmla="*/ 2148863 h 6920543"/>
              <a:gd name="connsiteX7" fmla="*/ 39647 w 3194302"/>
              <a:gd name="connsiteY7" fmla="*/ 0 h 692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94302" h="6920543">
                <a:moveTo>
                  <a:pt x="39647" y="0"/>
                </a:moveTo>
                <a:lnTo>
                  <a:pt x="2435327" y="0"/>
                </a:lnTo>
                <a:lnTo>
                  <a:pt x="3194302" y="2173247"/>
                </a:lnTo>
                <a:lnTo>
                  <a:pt x="2182366" y="6920543"/>
                </a:lnTo>
                <a:lnTo>
                  <a:pt x="0" y="6918960"/>
                </a:lnTo>
                <a:lnTo>
                  <a:pt x="0" y="6918960"/>
                </a:lnTo>
                <a:lnTo>
                  <a:pt x="877824" y="2148863"/>
                </a:lnTo>
                <a:lnTo>
                  <a:pt x="39647" y="0"/>
                </a:lnTo>
                <a:close/>
              </a:path>
            </a:pathLst>
          </a:custGeom>
        </p:spPr>
        <p:txBody>
          <a:bodyPr/>
          <a:lstStyle/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05089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-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">
            <a:extLst>
              <a:ext uri="{FF2B5EF4-FFF2-40B4-BE49-F238E27FC236}">
                <a16:creationId xmlns:a16="http://schemas.microsoft.com/office/drawing/2014/main" id="{916AF65C-F422-8DBD-FD61-18D2B4486B61}"/>
              </a:ext>
            </a:extLst>
          </p:cNvPr>
          <p:cNvCxnSpPr>
            <a:cxnSpLocks/>
          </p:cNvCxnSpPr>
          <p:nvPr userDrawn="1"/>
        </p:nvCxnSpPr>
        <p:spPr>
          <a:xfrm>
            <a:off x="4260850" y="1628775"/>
            <a:ext cx="0" cy="347503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FB2253-DADC-FB6C-139F-4B068B587609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5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3A745C8A-56E7-6B64-346C-E347B1E80A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406140" cy="435133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tx2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06972" y="800327"/>
            <a:ext cx="7157992" cy="52573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None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 sz="1800" b="0">
                <a:solidFill>
                  <a:schemeClr val="tx1"/>
                </a:solidFill>
              </a:defRPr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 sz="1600"/>
            </a:lvl3pPr>
            <a:lvl4pPr marL="693738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  <a:defRPr sz="1400"/>
            </a:lvl4pPr>
            <a:lvl5pPr marL="1260476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9B348C0-42A7-D3A1-1334-AEE836382A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77D47E-8DF4-4517-BC7D-167DDDC0E6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0002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95C7F630-509C-27A1-E428-5DA28708E0B6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0" y="0"/>
            <a:ext cx="6335713" cy="68849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36060" h="6885736">
                <a:moveTo>
                  <a:pt x="0" y="0"/>
                </a:moveTo>
                <a:lnTo>
                  <a:pt x="5622382" y="0"/>
                </a:lnTo>
                <a:lnTo>
                  <a:pt x="6336060" y="2089556"/>
                </a:lnTo>
                <a:lnTo>
                  <a:pt x="5622382" y="6885736"/>
                </a:lnTo>
                <a:lnTo>
                  <a:pt x="0" y="688573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10DD84-45AB-9484-520E-362FBA11E59A}"/>
              </a:ext>
            </a:extLst>
          </p:cNvPr>
          <p:cNvSpPr txBox="1">
            <a:spLocks/>
          </p:cNvSpPr>
          <p:nvPr userDrawn="1"/>
        </p:nvSpPr>
        <p:spPr>
          <a:xfrm>
            <a:off x="324643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5" name="Picture 14" descr="Logo&#10;&#10;Description automatically generated with low confidence">
            <a:extLst>
              <a:ext uri="{FF2B5EF4-FFF2-40B4-BE49-F238E27FC236}">
                <a16:creationId xmlns:a16="http://schemas.microsoft.com/office/drawing/2014/main" id="{2B9CE555-D5E3-24D9-0D62-89ECB9EDB3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53138"/>
            <a:ext cx="227012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901951"/>
            <a:ext cx="5081891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901951"/>
            <a:ext cx="5150842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CF6DD9-4A56-9FFE-7CDF-40E855E702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F03798E-05A7-4348-8343-9C10F9D3C2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53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0EC3EEC1-9F7B-C97F-EB2F-7C782BD8B6A5}"/>
              </a:ext>
            </a:extLst>
          </p:cNvPr>
          <p:cNvSpPr/>
          <p:nvPr userDrawn="1"/>
        </p:nvSpPr>
        <p:spPr>
          <a:xfrm>
            <a:off x="0" y="0"/>
            <a:ext cx="42497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B464B94A-5121-F7AD-38FA-1DBD7BB114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4963" y="6408738"/>
            <a:ext cx="207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97FCB77-A9E5-AABC-CEBF-FEDE87D5FCB0}"/>
              </a:ext>
            </a:extLst>
          </p:cNvPr>
          <p:cNvSpPr txBox="1">
            <a:spLocks/>
          </p:cNvSpPr>
          <p:nvPr userDrawn="1"/>
        </p:nvSpPr>
        <p:spPr>
          <a:xfrm>
            <a:off x="4606925" y="6400800"/>
            <a:ext cx="2836863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</p:txBody>
      </p:sp>
    </p:spTree>
    <p:extLst>
      <p:ext uri="{BB962C8B-B14F-4D97-AF65-F5344CB8AC3E}">
        <p14:creationId xmlns:p14="http://schemas.microsoft.com/office/powerpoint/2010/main" val="35879747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Red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D49C1144-A8D0-E3DA-1DED-71AF46820DDA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0" y="0"/>
            <a:ext cx="6335713" cy="68849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36060" h="6885736">
                <a:moveTo>
                  <a:pt x="0" y="0"/>
                </a:moveTo>
                <a:lnTo>
                  <a:pt x="5622382" y="0"/>
                </a:lnTo>
                <a:lnTo>
                  <a:pt x="6336060" y="2089556"/>
                </a:lnTo>
                <a:lnTo>
                  <a:pt x="5622382" y="6885736"/>
                </a:lnTo>
                <a:lnTo>
                  <a:pt x="0" y="688573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23058A3-97CB-064C-2853-0B0CE8B3908A}"/>
              </a:ext>
            </a:extLst>
          </p:cNvPr>
          <p:cNvSpPr txBox="1">
            <a:spLocks/>
          </p:cNvSpPr>
          <p:nvPr userDrawn="1"/>
        </p:nvSpPr>
        <p:spPr>
          <a:xfrm>
            <a:off x="6615113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4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2B2FAC63-4121-2C44-32E1-DAD3FFEEDB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901951"/>
            <a:ext cx="5081891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901951"/>
            <a:ext cx="5150842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F6C9827-C821-4102-B1FA-07FF5F1983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CBC1DDE-65AB-43EE-8981-CFF903F8D5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5699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09753A60-85D4-A78C-48F1-EEA147F4922B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0" y="0"/>
            <a:ext cx="6335713" cy="68849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36060" h="6885736">
                <a:moveTo>
                  <a:pt x="0" y="0"/>
                </a:moveTo>
                <a:lnTo>
                  <a:pt x="5622382" y="0"/>
                </a:lnTo>
                <a:lnTo>
                  <a:pt x="6336060" y="2089556"/>
                </a:lnTo>
                <a:lnTo>
                  <a:pt x="5622382" y="6885736"/>
                </a:lnTo>
                <a:lnTo>
                  <a:pt x="0" y="688573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4AA7534-895F-90C9-C656-952C0FAA8413}"/>
              </a:ext>
            </a:extLst>
          </p:cNvPr>
          <p:cNvSpPr txBox="1">
            <a:spLocks/>
          </p:cNvSpPr>
          <p:nvPr userDrawn="1"/>
        </p:nvSpPr>
        <p:spPr>
          <a:xfrm>
            <a:off x="324643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5" name="Picture 9" descr="Logo&#10;&#10;Description automatically generated with low confidence">
            <a:extLst>
              <a:ext uri="{FF2B5EF4-FFF2-40B4-BE49-F238E27FC236}">
                <a16:creationId xmlns:a16="http://schemas.microsoft.com/office/drawing/2014/main" id="{272EDD73-6939-4A2E-AEAD-4AB49C074D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53138"/>
            <a:ext cx="227012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901951"/>
            <a:ext cx="5081891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901951"/>
            <a:ext cx="5150842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1F923C-6770-C6C2-AAB1-3CA93DE3D5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F47544F-B62C-4B7D-B9AB-3320AB9B4C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1078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Blu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8">
            <a:extLst>
              <a:ext uri="{FF2B5EF4-FFF2-40B4-BE49-F238E27FC236}">
                <a16:creationId xmlns:a16="http://schemas.microsoft.com/office/drawing/2014/main" id="{AFA3886B-D9D1-71AA-2BC6-11AADC2E0A34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0" y="0"/>
            <a:ext cx="6335713" cy="6884988"/>
          </a:xfrm>
          <a:custGeom>
            <a:avLst/>
            <a:gdLst>
              <a:gd name="connsiteX0" fmla="*/ 0 w 6457980"/>
              <a:gd name="connsiteY0" fmla="*/ 0 h 6885736"/>
              <a:gd name="connsiteX1" fmla="*/ 5622382 w 6457980"/>
              <a:gd name="connsiteY1" fmla="*/ 0 h 6885736"/>
              <a:gd name="connsiteX2" fmla="*/ 6457980 w 6457980"/>
              <a:gd name="connsiteY2" fmla="*/ 3442868 h 6885736"/>
              <a:gd name="connsiteX3" fmla="*/ 5622382 w 6457980"/>
              <a:gd name="connsiteY3" fmla="*/ 6885736 h 6885736"/>
              <a:gd name="connsiteX4" fmla="*/ 0 w 6457980"/>
              <a:gd name="connsiteY4" fmla="*/ 6885736 h 6885736"/>
              <a:gd name="connsiteX5" fmla="*/ 0 w 6457980"/>
              <a:gd name="connsiteY5" fmla="*/ 0 h 6885736"/>
              <a:gd name="connsiteX0" fmla="*/ 0 w 6336060"/>
              <a:gd name="connsiteY0" fmla="*/ 0 h 6885736"/>
              <a:gd name="connsiteX1" fmla="*/ 5622382 w 6336060"/>
              <a:gd name="connsiteY1" fmla="*/ 0 h 6885736"/>
              <a:gd name="connsiteX2" fmla="*/ 6336060 w 6336060"/>
              <a:gd name="connsiteY2" fmla="*/ 2089556 h 6885736"/>
              <a:gd name="connsiteX3" fmla="*/ 5622382 w 6336060"/>
              <a:gd name="connsiteY3" fmla="*/ 6885736 h 6885736"/>
              <a:gd name="connsiteX4" fmla="*/ 0 w 6336060"/>
              <a:gd name="connsiteY4" fmla="*/ 6885736 h 6885736"/>
              <a:gd name="connsiteX5" fmla="*/ 0 w 6336060"/>
              <a:gd name="connsiteY5" fmla="*/ 0 h 6885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36060" h="6885736">
                <a:moveTo>
                  <a:pt x="0" y="0"/>
                </a:moveTo>
                <a:lnTo>
                  <a:pt x="5622382" y="0"/>
                </a:lnTo>
                <a:lnTo>
                  <a:pt x="6336060" y="2089556"/>
                </a:lnTo>
                <a:lnTo>
                  <a:pt x="5622382" y="6885736"/>
                </a:lnTo>
                <a:lnTo>
                  <a:pt x="0" y="68857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F0C2F4-41FF-2BCD-F198-375640E1CD5C}"/>
              </a:ext>
            </a:extLst>
          </p:cNvPr>
          <p:cNvSpPr txBox="1">
            <a:spLocks/>
          </p:cNvSpPr>
          <p:nvPr userDrawn="1"/>
        </p:nvSpPr>
        <p:spPr>
          <a:xfrm>
            <a:off x="6615113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4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0DAB58AA-B518-20A4-7F42-BFD31A1570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901951"/>
            <a:ext cx="5081891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0"/>
          </p:nvPr>
        </p:nvSpPr>
        <p:spPr>
          <a:xfrm>
            <a:off x="6614809" y="1901951"/>
            <a:ext cx="5150842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25373E-D768-266D-F7A4-F4C404A0F3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D6F0E15-66E8-4B95-8064-9C414A5880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8478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B73A4B38-91BC-ABEE-A119-74CC79278E57}"/>
              </a:ext>
            </a:extLst>
          </p:cNvPr>
          <p:cNvSpPr txBox="1">
            <a:spLocks/>
          </p:cNvSpPr>
          <p:nvPr userDrawn="1"/>
        </p:nvSpPr>
        <p:spPr>
          <a:xfrm>
            <a:off x="957263" y="6400800"/>
            <a:ext cx="2151062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3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DE1892A-DA1B-832A-3B2C-8E5DBA9B62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488" y="6049963"/>
            <a:ext cx="2271712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38852" y="-12192"/>
            <a:ext cx="7180556" cy="6882384"/>
          </a:xfrm>
          <a:custGeom>
            <a:avLst/>
            <a:gdLst>
              <a:gd name="connsiteX0" fmla="*/ 1143023 w 7396987"/>
              <a:gd name="connsiteY0" fmla="*/ 0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0 w 7396987"/>
              <a:gd name="connsiteY7" fmla="*/ 1143023 h 6858000"/>
              <a:gd name="connsiteX8" fmla="*/ 1143023 w 7396987"/>
              <a:gd name="connsiteY8" fmla="*/ 0 h 6858000"/>
              <a:gd name="connsiteX0" fmla="*/ 1143023 w 7396987"/>
              <a:gd name="connsiteY0" fmla="*/ 0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256032 w 7396987"/>
              <a:gd name="connsiteY7" fmla="*/ 2069615 h 6858000"/>
              <a:gd name="connsiteX8" fmla="*/ 1143023 w 7396987"/>
              <a:gd name="connsiteY8" fmla="*/ 0 h 6858000"/>
              <a:gd name="connsiteX0" fmla="*/ 972335 w 7396987"/>
              <a:gd name="connsiteY0" fmla="*/ 12192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256032 w 7396987"/>
              <a:gd name="connsiteY7" fmla="*/ 2069615 h 6858000"/>
              <a:gd name="connsiteX8" fmla="*/ 972335 w 7396987"/>
              <a:gd name="connsiteY8" fmla="*/ 12192 h 6858000"/>
              <a:gd name="connsiteX0" fmla="*/ 972335 w 7424396"/>
              <a:gd name="connsiteY0" fmla="*/ 24384 h 6870192"/>
              <a:gd name="connsiteX1" fmla="*/ 7424396 w 7424396"/>
              <a:gd name="connsiteY1" fmla="*/ 0 h 6870192"/>
              <a:gd name="connsiteX2" fmla="*/ 7396987 w 7424396"/>
              <a:gd name="connsiteY2" fmla="*/ 1155215 h 6870192"/>
              <a:gd name="connsiteX3" fmla="*/ 7396987 w 7424396"/>
              <a:gd name="connsiteY3" fmla="*/ 6870192 h 6870192"/>
              <a:gd name="connsiteX4" fmla="*/ 7396987 w 7424396"/>
              <a:gd name="connsiteY4" fmla="*/ 6870192 h 6870192"/>
              <a:gd name="connsiteX5" fmla="*/ 0 w 7424396"/>
              <a:gd name="connsiteY5" fmla="*/ 6870192 h 6870192"/>
              <a:gd name="connsiteX6" fmla="*/ 0 w 7424396"/>
              <a:gd name="connsiteY6" fmla="*/ 6870192 h 6870192"/>
              <a:gd name="connsiteX7" fmla="*/ 256032 w 7424396"/>
              <a:gd name="connsiteY7" fmla="*/ 2081807 h 6870192"/>
              <a:gd name="connsiteX8" fmla="*/ 972335 w 7424396"/>
              <a:gd name="connsiteY8" fmla="*/ 24384 h 6870192"/>
              <a:gd name="connsiteX0" fmla="*/ 972335 w 7424396"/>
              <a:gd name="connsiteY0" fmla="*/ 24384 h 6906768"/>
              <a:gd name="connsiteX1" fmla="*/ 7424396 w 7424396"/>
              <a:gd name="connsiteY1" fmla="*/ 0 h 6906768"/>
              <a:gd name="connsiteX2" fmla="*/ 7396987 w 7424396"/>
              <a:gd name="connsiteY2" fmla="*/ 1155215 h 6906768"/>
              <a:gd name="connsiteX3" fmla="*/ 7396987 w 7424396"/>
              <a:gd name="connsiteY3" fmla="*/ 6870192 h 6906768"/>
              <a:gd name="connsiteX4" fmla="*/ 7396987 w 7424396"/>
              <a:gd name="connsiteY4" fmla="*/ 6870192 h 6906768"/>
              <a:gd name="connsiteX5" fmla="*/ 0 w 7424396"/>
              <a:gd name="connsiteY5" fmla="*/ 6870192 h 6906768"/>
              <a:gd name="connsiteX6" fmla="*/ 1304544 w 7424396"/>
              <a:gd name="connsiteY6" fmla="*/ 6906768 h 6906768"/>
              <a:gd name="connsiteX7" fmla="*/ 256032 w 7424396"/>
              <a:gd name="connsiteY7" fmla="*/ 2081807 h 6906768"/>
              <a:gd name="connsiteX8" fmla="*/ 972335 w 7424396"/>
              <a:gd name="connsiteY8" fmla="*/ 24384 h 6906768"/>
              <a:gd name="connsiteX0" fmla="*/ 972335 w 7424396"/>
              <a:gd name="connsiteY0" fmla="*/ 24384 h 6906768"/>
              <a:gd name="connsiteX1" fmla="*/ 7424396 w 7424396"/>
              <a:gd name="connsiteY1" fmla="*/ 0 h 6906768"/>
              <a:gd name="connsiteX2" fmla="*/ 7396987 w 7424396"/>
              <a:gd name="connsiteY2" fmla="*/ 1155215 h 6906768"/>
              <a:gd name="connsiteX3" fmla="*/ 7396987 w 7424396"/>
              <a:gd name="connsiteY3" fmla="*/ 6870192 h 6906768"/>
              <a:gd name="connsiteX4" fmla="*/ 7396987 w 7424396"/>
              <a:gd name="connsiteY4" fmla="*/ 6870192 h 6906768"/>
              <a:gd name="connsiteX5" fmla="*/ 0 w 7424396"/>
              <a:gd name="connsiteY5" fmla="*/ 6870192 h 6906768"/>
              <a:gd name="connsiteX6" fmla="*/ 1304544 w 7424396"/>
              <a:gd name="connsiteY6" fmla="*/ 6906768 h 6906768"/>
              <a:gd name="connsiteX7" fmla="*/ 243840 w 7424396"/>
              <a:gd name="connsiteY7" fmla="*/ 2142767 h 6906768"/>
              <a:gd name="connsiteX8" fmla="*/ 972335 w 7424396"/>
              <a:gd name="connsiteY8" fmla="*/ 24384 h 6906768"/>
              <a:gd name="connsiteX0" fmla="*/ 728495 w 7180556"/>
              <a:gd name="connsiteY0" fmla="*/ 24384 h 6906768"/>
              <a:gd name="connsiteX1" fmla="*/ 7180556 w 7180556"/>
              <a:gd name="connsiteY1" fmla="*/ 0 h 6906768"/>
              <a:gd name="connsiteX2" fmla="*/ 7153147 w 7180556"/>
              <a:gd name="connsiteY2" fmla="*/ 1155215 h 6906768"/>
              <a:gd name="connsiteX3" fmla="*/ 7153147 w 7180556"/>
              <a:gd name="connsiteY3" fmla="*/ 6870192 h 6906768"/>
              <a:gd name="connsiteX4" fmla="*/ 7153147 w 7180556"/>
              <a:gd name="connsiteY4" fmla="*/ 6870192 h 6906768"/>
              <a:gd name="connsiteX5" fmla="*/ 1121664 w 7180556"/>
              <a:gd name="connsiteY5" fmla="*/ 6882384 h 6906768"/>
              <a:gd name="connsiteX6" fmla="*/ 1060704 w 7180556"/>
              <a:gd name="connsiteY6" fmla="*/ 6906768 h 6906768"/>
              <a:gd name="connsiteX7" fmla="*/ 0 w 7180556"/>
              <a:gd name="connsiteY7" fmla="*/ 2142767 h 6906768"/>
              <a:gd name="connsiteX8" fmla="*/ 728495 w 7180556"/>
              <a:gd name="connsiteY8" fmla="*/ 24384 h 6906768"/>
              <a:gd name="connsiteX0" fmla="*/ 728495 w 7180556"/>
              <a:gd name="connsiteY0" fmla="*/ 24384 h 6906768"/>
              <a:gd name="connsiteX1" fmla="*/ 7180556 w 7180556"/>
              <a:gd name="connsiteY1" fmla="*/ 0 h 6906768"/>
              <a:gd name="connsiteX2" fmla="*/ 7153147 w 7180556"/>
              <a:gd name="connsiteY2" fmla="*/ 1155215 h 6906768"/>
              <a:gd name="connsiteX3" fmla="*/ 7153147 w 7180556"/>
              <a:gd name="connsiteY3" fmla="*/ 6870192 h 6906768"/>
              <a:gd name="connsiteX4" fmla="*/ 7153147 w 7180556"/>
              <a:gd name="connsiteY4" fmla="*/ 6870192 h 6906768"/>
              <a:gd name="connsiteX5" fmla="*/ 3609142 w 7180556"/>
              <a:gd name="connsiteY5" fmla="*/ 6882384 h 6906768"/>
              <a:gd name="connsiteX6" fmla="*/ 1060704 w 7180556"/>
              <a:gd name="connsiteY6" fmla="*/ 6906768 h 6906768"/>
              <a:gd name="connsiteX7" fmla="*/ 0 w 7180556"/>
              <a:gd name="connsiteY7" fmla="*/ 2142767 h 6906768"/>
              <a:gd name="connsiteX8" fmla="*/ 728495 w 7180556"/>
              <a:gd name="connsiteY8" fmla="*/ 24384 h 6906768"/>
              <a:gd name="connsiteX0" fmla="*/ 728495 w 7180556"/>
              <a:gd name="connsiteY0" fmla="*/ 24384 h 6882384"/>
              <a:gd name="connsiteX1" fmla="*/ 7180556 w 7180556"/>
              <a:gd name="connsiteY1" fmla="*/ 0 h 6882384"/>
              <a:gd name="connsiteX2" fmla="*/ 7153147 w 7180556"/>
              <a:gd name="connsiteY2" fmla="*/ 1155215 h 6882384"/>
              <a:gd name="connsiteX3" fmla="*/ 7153147 w 7180556"/>
              <a:gd name="connsiteY3" fmla="*/ 6870192 h 6882384"/>
              <a:gd name="connsiteX4" fmla="*/ 7153147 w 7180556"/>
              <a:gd name="connsiteY4" fmla="*/ 6870192 h 6882384"/>
              <a:gd name="connsiteX5" fmla="*/ 3609142 w 7180556"/>
              <a:gd name="connsiteY5" fmla="*/ 6882384 h 6882384"/>
              <a:gd name="connsiteX6" fmla="*/ 1052955 w 7180556"/>
              <a:gd name="connsiteY6" fmla="*/ 6875772 h 6882384"/>
              <a:gd name="connsiteX7" fmla="*/ 0 w 7180556"/>
              <a:gd name="connsiteY7" fmla="*/ 2142767 h 6882384"/>
              <a:gd name="connsiteX8" fmla="*/ 728495 w 7180556"/>
              <a:gd name="connsiteY8" fmla="*/ 24384 h 6882384"/>
              <a:gd name="connsiteX0" fmla="*/ 728495 w 7180556"/>
              <a:gd name="connsiteY0" fmla="*/ 1137 h 6882384"/>
              <a:gd name="connsiteX1" fmla="*/ 7180556 w 7180556"/>
              <a:gd name="connsiteY1" fmla="*/ 0 h 6882384"/>
              <a:gd name="connsiteX2" fmla="*/ 7153147 w 7180556"/>
              <a:gd name="connsiteY2" fmla="*/ 1155215 h 6882384"/>
              <a:gd name="connsiteX3" fmla="*/ 7153147 w 7180556"/>
              <a:gd name="connsiteY3" fmla="*/ 6870192 h 6882384"/>
              <a:gd name="connsiteX4" fmla="*/ 7153147 w 7180556"/>
              <a:gd name="connsiteY4" fmla="*/ 6870192 h 6882384"/>
              <a:gd name="connsiteX5" fmla="*/ 3609142 w 7180556"/>
              <a:gd name="connsiteY5" fmla="*/ 6882384 h 6882384"/>
              <a:gd name="connsiteX6" fmla="*/ 1052955 w 7180556"/>
              <a:gd name="connsiteY6" fmla="*/ 6875772 h 6882384"/>
              <a:gd name="connsiteX7" fmla="*/ 0 w 7180556"/>
              <a:gd name="connsiteY7" fmla="*/ 2142767 h 6882384"/>
              <a:gd name="connsiteX8" fmla="*/ 728495 w 7180556"/>
              <a:gd name="connsiteY8" fmla="*/ 1137 h 6882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80556" h="6882384">
                <a:moveTo>
                  <a:pt x="728495" y="1137"/>
                </a:moveTo>
                <a:lnTo>
                  <a:pt x="7180556" y="0"/>
                </a:lnTo>
                <a:lnTo>
                  <a:pt x="7153147" y="1155215"/>
                </a:lnTo>
                <a:lnTo>
                  <a:pt x="7153147" y="6870192"/>
                </a:lnTo>
                <a:lnTo>
                  <a:pt x="7153147" y="6870192"/>
                </a:lnTo>
                <a:lnTo>
                  <a:pt x="3609142" y="6882384"/>
                </a:lnTo>
                <a:lnTo>
                  <a:pt x="1052955" y="6875772"/>
                </a:lnTo>
                <a:lnTo>
                  <a:pt x="0" y="2142767"/>
                </a:lnTo>
                <a:lnTo>
                  <a:pt x="728495" y="1137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1"/>
          </p:nvPr>
        </p:nvSpPr>
        <p:spPr>
          <a:xfrm>
            <a:off x="495300" y="1901951"/>
            <a:ext cx="4033157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2468087-1345-54D0-92AB-6FAB6CF75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C31547FD-E1E4-46D8-8C37-1887CFDB4A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2664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DCB52AF-A486-E40F-B97A-B4496526BB17}"/>
              </a:ext>
            </a:extLst>
          </p:cNvPr>
          <p:cNvSpPr txBox="1">
            <a:spLocks/>
          </p:cNvSpPr>
          <p:nvPr userDrawn="1"/>
        </p:nvSpPr>
        <p:spPr>
          <a:xfrm>
            <a:off x="957263" y="6400800"/>
            <a:ext cx="2151062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3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F688378B-82E4-D588-7C9B-53D18C9B05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488" y="6049963"/>
            <a:ext cx="2271712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38852" y="-12192"/>
            <a:ext cx="7180556" cy="6882384"/>
          </a:xfrm>
          <a:custGeom>
            <a:avLst/>
            <a:gdLst>
              <a:gd name="connsiteX0" fmla="*/ 1143023 w 7396987"/>
              <a:gd name="connsiteY0" fmla="*/ 0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0 w 7396987"/>
              <a:gd name="connsiteY7" fmla="*/ 1143023 h 6858000"/>
              <a:gd name="connsiteX8" fmla="*/ 1143023 w 7396987"/>
              <a:gd name="connsiteY8" fmla="*/ 0 h 6858000"/>
              <a:gd name="connsiteX0" fmla="*/ 1143023 w 7396987"/>
              <a:gd name="connsiteY0" fmla="*/ 0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256032 w 7396987"/>
              <a:gd name="connsiteY7" fmla="*/ 2069615 h 6858000"/>
              <a:gd name="connsiteX8" fmla="*/ 1143023 w 7396987"/>
              <a:gd name="connsiteY8" fmla="*/ 0 h 6858000"/>
              <a:gd name="connsiteX0" fmla="*/ 972335 w 7396987"/>
              <a:gd name="connsiteY0" fmla="*/ 12192 h 6858000"/>
              <a:gd name="connsiteX1" fmla="*/ 6253964 w 7396987"/>
              <a:gd name="connsiteY1" fmla="*/ 0 h 6858000"/>
              <a:gd name="connsiteX2" fmla="*/ 7396987 w 7396987"/>
              <a:gd name="connsiteY2" fmla="*/ 1143023 h 6858000"/>
              <a:gd name="connsiteX3" fmla="*/ 7396987 w 7396987"/>
              <a:gd name="connsiteY3" fmla="*/ 6858000 h 6858000"/>
              <a:gd name="connsiteX4" fmla="*/ 7396987 w 7396987"/>
              <a:gd name="connsiteY4" fmla="*/ 6858000 h 6858000"/>
              <a:gd name="connsiteX5" fmla="*/ 0 w 7396987"/>
              <a:gd name="connsiteY5" fmla="*/ 6858000 h 6858000"/>
              <a:gd name="connsiteX6" fmla="*/ 0 w 7396987"/>
              <a:gd name="connsiteY6" fmla="*/ 6858000 h 6858000"/>
              <a:gd name="connsiteX7" fmla="*/ 256032 w 7396987"/>
              <a:gd name="connsiteY7" fmla="*/ 2069615 h 6858000"/>
              <a:gd name="connsiteX8" fmla="*/ 972335 w 7396987"/>
              <a:gd name="connsiteY8" fmla="*/ 12192 h 6858000"/>
              <a:gd name="connsiteX0" fmla="*/ 972335 w 7424396"/>
              <a:gd name="connsiteY0" fmla="*/ 24384 h 6870192"/>
              <a:gd name="connsiteX1" fmla="*/ 7424396 w 7424396"/>
              <a:gd name="connsiteY1" fmla="*/ 0 h 6870192"/>
              <a:gd name="connsiteX2" fmla="*/ 7396987 w 7424396"/>
              <a:gd name="connsiteY2" fmla="*/ 1155215 h 6870192"/>
              <a:gd name="connsiteX3" fmla="*/ 7396987 w 7424396"/>
              <a:gd name="connsiteY3" fmla="*/ 6870192 h 6870192"/>
              <a:gd name="connsiteX4" fmla="*/ 7396987 w 7424396"/>
              <a:gd name="connsiteY4" fmla="*/ 6870192 h 6870192"/>
              <a:gd name="connsiteX5" fmla="*/ 0 w 7424396"/>
              <a:gd name="connsiteY5" fmla="*/ 6870192 h 6870192"/>
              <a:gd name="connsiteX6" fmla="*/ 0 w 7424396"/>
              <a:gd name="connsiteY6" fmla="*/ 6870192 h 6870192"/>
              <a:gd name="connsiteX7" fmla="*/ 256032 w 7424396"/>
              <a:gd name="connsiteY7" fmla="*/ 2081807 h 6870192"/>
              <a:gd name="connsiteX8" fmla="*/ 972335 w 7424396"/>
              <a:gd name="connsiteY8" fmla="*/ 24384 h 6870192"/>
              <a:gd name="connsiteX0" fmla="*/ 972335 w 7424396"/>
              <a:gd name="connsiteY0" fmla="*/ 24384 h 6906768"/>
              <a:gd name="connsiteX1" fmla="*/ 7424396 w 7424396"/>
              <a:gd name="connsiteY1" fmla="*/ 0 h 6906768"/>
              <a:gd name="connsiteX2" fmla="*/ 7396987 w 7424396"/>
              <a:gd name="connsiteY2" fmla="*/ 1155215 h 6906768"/>
              <a:gd name="connsiteX3" fmla="*/ 7396987 w 7424396"/>
              <a:gd name="connsiteY3" fmla="*/ 6870192 h 6906768"/>
              <a:gd name="connsiteX4" fmla="*/ 7396987 w 7424396"/>
              <a:gd name="connsiteY4" fmla="*/ 6870192 h 6906768"/>
              <a:gd name="connsiteX5" fmla="*/ 0 w 7424396"/>
              <a:gd name="connsiteY5" fmla="*/ 6870192 h 6906768"/>
              <a:gd name="connsiteX6" fmla="*/ 1304544 w 7424396"/>
              <a:gd name="connsiteY6" fmla="*/ 6906768 h 6906768"/>
              <a:gd name="connsiteX7" fmla="*/ 256032 w 7424396"/>
              <a:gd name="connsiteY7" fmla="*/ 2081807 h 6906768"/>
              <a:gd name="connsiteX8" fmla="*/ 972335 w 7424396"/>
              <a:gd name="connsiteY8" fmla="*/ 24384 h 6906768"/>
              <a:gd name="connsiteX0" fmla="*/ 972335 w 7424396"/>
              <a:gd name="connsiteY0" fmla="*/ 24384 h 6906768"/>
              <a:gd name="connsiteX1" fmla="*/ 7424396 w 7424396"/>
              <a:gd name="connsiteY1" fmla="*/ 0 h 6906768"/>
              <a:gd name="connsiteX2" fmla="*/ 7396987 w 7424396"/>
              <a:gd name="connsiteY2" fmla="*/ 1155215 h 6906768"/>
              <a:gd name="connsiteX3" fmla="*/ 7396987 w 7424396"/>
              <a:gd name="connsiteY3" fmla="*/ 6870192 h 6906768"/>
              <a:gd name="connsiteX4" fmla="*/ 7396987 w 7424396"/>
              <a:gd name="connsiteY4" fmla="*/ 6870192 h 6906768"/>
              <a:gd name="connsiteX5" fmla="*/ 0 w 7424396"/>
              <a:gd name="connsiteY5" fmla="*/ 6870192 h 6906768"/>
              <a:gd name="connsiteX6" fmla="*/ 1304544 w 7424396"/>
              <a:gd name="connsiteY6" fmla="*/ 6906768 h 6906768"/>
              <a:gd name="connsiteX7" fmla="*/ 243840 w 7424396"/>
              <a:gd name="connsiteY7" fmla="*/ 2142767 h 6906768"/>
              <a:gd name="connsiteX8" fmla="*/ 972335 w 7424396"/>
              <a:gd name="connsiteY8" fmla="*/ 24384 h 6906768"/>
              <a:gd name="connsiteX0" fmla="*/ 728495 w 7180556"/>
              <a:gd name="connsiteY0" fmla="*/ 24384 h 6906768"/>
              <a:gd name="connsiteX1" fmla="*/ 7180556 w 7180556"/>
              <a:gd name="connsiteY1" fmla="*/ 0 h 6906768"/>
              <a:gd name="connsiteX2" fmla="*/ 7153147 w 7180556"/>
              <a:gd name="connsiteY2" fmla="*/ 1155215 h 6906768"/>
              <a:gd name="connsiteX3" fmla="*/ 7153147 w 7180556"/>
              <a:gd name="connsiteY3" fmla="*/ 6870192 h 6906768"/>
              <a:gd name="connsiteX4" fmla="*/ 7153147 w 7180556"/>
              <a:gd name="connsiteY4" fmla="*/ 6870192 h 6906768"/>
              <a:gd name="connsiteX5" fmla="*/ 1121664 w 7180556"/>
              <a:gd name="connsiteY5" fmla="*/ 6882384 h 6906768"/>
              <a:gd name="connsiteX6" fmla="*/ 1060704 w 7180556"/>
              <a:gd name="connsiteY6" fmla="*/ 6906768 h 6906768"/>
              <a:gd name="connsiteX7" fmla="*/ 0 w 7180556"/>
              <a:gd name="connsiteY7" fmla="*/ 2142767 h 6906768"/>
              <a:gd name="connsiteX8" fmla="*/ 728495 w 7180556"/>
              <a:gd name="connsiteY8" fmla="*/ 24384 h 6906768"/>
              <a:gd name="connsiteX0" fmla="*/ 728495 w 7180556"/>
              <a:gd name="connsiteY0" fmla="*/ 24384 h 6906768"/>
              <a:gd name="connsiteX1" fmla="*/ 7180556 w 7180556"/>
              <a:gd name="connsiteY1" fmla="*/ 0 h 6906768"/>
              <a:gd name="connsiteX2" fmla="*/ 7153147 w 7180556"/>
              <a:gd name="connsiteY2" fmla="*/ 1155215 h 6906768"/>
              <a:gd name="connsiteX3" fmla="*/ 7153147 w 7180556"/>
              <a:gd name="connsiteY3" fmla="*/ 6870192 h 6906768"/>
              <a:gd name="connsiteX4" fmla="*/ 7153147 w 7180556"/>
              <a:gd name="connsiteY4" fmla="*/ 6870192 h 6906768"/>
              <a:gd name="connsiteX5" fmla="*/ 3609142 w 7180556"/>
              <a:gd name="connsiteY5" fmla="*/ 6882384 h 6906768"/>
              <a:gd name="connsiteX6" fmla="*/ 1060704 w 7180556"/>
              <a:gd name="connsiteY6" fmla="*/ 6906768 h 6906768"/>
              <a:gd name="connsiteX7" fmla="*/ 0 w 7180556"/>
              <a:gd name="connsiteY7" fmla="*/ 2142767 h 6906768"/>
              <a:gd name="connsiteX8" fmla="*/ 728495 w 7180556"/>
              <a:gd name="connsiteY8" fmla="*/ 24384 h 6906768"/>
              <a:gd name="connsiteX0" fmla="*/ 728495 w 7180556"/>
              <a:gd name="connsiteY0" fmla="*/ 24384 h 6882384"/>
              <a:gd name="connsiteX1" fmla="*/ 7180556 w 7180556"/>
              <a:gd name="connsiteY1" fmla="*/ 0 h 6882384"/>
              <a:gd name="connsiteX2" fmla="*/ 7153147 w 7180556"/>
              <a:gd name="connsiteY2" fmla="*/ 1155215 h 6882384"/>
              <a:gd name="connsiteX3" fmla="*/ 7153147 w 7180556"/>
              <a:gd name="connsiteY3" fmla="*/ 6870192 h 6882384"/>
              <a:gd name="connsiteX4" fmla="*/ 7153147 w 7180556"/>
              <a:gd name="connsiteY4" fmla="*/ 6870192 h 6882384"/>
              <a:gd name="connsiteX5" fmla="*/ 3609142 w 7180556"/>
              <a:gd name="connsiteY5" fmla="*/ 6882384 h 6882384"/>
              <a:gd name="connsiteX6" fmla="*/ 1052955 w 7180556"/>
              <a:gd name="connsiteY6" fmla="*/ 6875772 h 6882384"/>
              <a:gd name="connsiteX7" fmla="*/ 0 w 7180556"/>
              <a:gd name="connsiteY7" fmla="*/ 2142767 h 6882384"/>
              <a:gd name="connsiteX8" fmla="*/ 728495 w 7180556"/>
              <a:gd name="connsiteY8" fmla="*/ 24384 h 6882384"/>
              <a:gd name="connsiteX0" fmla="*/ 728495 w 7180556"/>
              <a:gd name="connsiteY0" fmla="*/ 1137 h 6882384"/>
              <a:gd name="connsiteX1" fmla="*/ 7180556 w 7180556"/>
              <a:gd name="connsiteY1" fmla="*/ 0 h 6882384"/>
              <a:gd name="connsiteX2" fmla="*/ 7153147 w 7180556"/>
              <a:gd name="connsiteY2" fmla="*/ 1155215 h 6882384"/>
              <a:gd name="connsiteX3" fmla="*/ 7153147 w 7180556"/>
              <a:gd name="connsiteY3" fmla="*/ 6870192 h 6882384"/>
              <a:gd name="connsiteX4" fmla="*/ 7153147 w 7180556"/>
              <a:gd name="connsiteY4" fmla="*/ 6870192 h 6882384"/>
              <a:gd name="connsiteX5" fmla="*/ 3609142 w 7180556"/>
              <a:gd name="connsiteY5" fmla="*/ 6882384 h 6882384"/>
              <a:gd name="connsiteX6" fmla="*/ 1052955 w 7180556"/>
              <a:gd name="connsiteY6" fmla="*/ 6875772 h 6882384"/>
              <a:gd name="connsiteX7" fmla="*/ 0 w 7180556"/>
              <a:gd name="connsiteY7" fmla="*/ 2142767 h 6882384"/>
              <a:gd name="connsiteX8" fmla="*/ 728495 w 7180556"/>
              <a:gd name="connsiteY8" fmla="*/ 1137 h 6882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80556" h="6882384">
                <a:moveTo>
                  <a:pt x="728495" y="1137"/>
                </a:moveTo>
                <a:lnTo>
                  <a:pt x="7180556" y="0"/>
                </a:lnTo>
                <a:lnTo>
                  <a:pt x="7153147" y="1155215"/>
                </a:lnTo>
                <a:lnTo>
                  <a:pt x="7153147" y="6870192"/>
                </a:lnTo>
                <a:lnTo>
                  <a:pt x="7153147" y="6870192"/>
                </a:lnTo>
                <a:lnTo>
                  <a:pt x="3609142" y="6882384"/>
                </a:lnTo>
                <a:lnTo>
                  <a:pt x="1052955" y="6875772"/>
                </a:lnTo>
                <a:lnTo>
                  <a:pt x="0" y="2142767"/>
                </a:lnTo>
                <a:lnTo>
                  <a:pt x="728495" y="1137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US" noProof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1"/>
          </p:nvPr>
        </p:nvSpPr>
        <p:spPr>
          <a:xfrm>
            <a:off x="495300" y="1901951"/>
            <a:ext cx="4033157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tx2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2D93C19-EA21-BB5B-0C55-92198DFEB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37532C7-9BEF-433F-9F9E-F9D1EC8B68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7273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0328280-9C43-7D40-4194-9B40BC13ED7A}"/>
              </a:ext>
            </a:extLst>
          </p:cNvPr>
          <p:cNvSpPr txBox="1">
            <a:spLocks/>
          </p:cNvSpPr>
          <p:nvPr userDrawn="1"/>
        </p:nvSpPr>
        <p:spPr>
          <a:xfrm>
            <a:off x="957263" y="6400800"/>
            <a:ext cx="2151062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3" name="Picture 5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6A8394E7-3D96-EF0A-351E-BF8B88C8A3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25" y="0"/>
            <a:ext cx="70643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88410731-9132-138F-2AE6-F34BB1CDAE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488" y="6049963"/>
            <a:ext cx="2271712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ontent Placeholder 2"/>
          <p:cNvSpPr>
            <a:spLocks noGrp="1"/>
          </p:cNvSpPr>
          <p:nvPr>
            <p:ph sz="half" idx="11"/>
          </p:nvPr>
        </p:nvSpPr>
        <p:spPr>
          <a:xfrm>
            <a:off x="495300" y="1901951"/>
            <a:ext cx="4033157" cy="363928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buNone/>
              <a:defRPr sz="3200" b="1" i="0">
                <a:solidFill>
                  <a:schemeClr val="tx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FB593DF-3374-A698-07FB-8FC5890D3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138" y="6400800"/>
            <a:ext cx="746125" cy="292100"/>
          </a:xfrm>
        </p:spPr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D6C8F4CA-0BE4-4B1F-96DE-F759DAC995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1912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F0E8E26-9F59-0721-A720-56B039D89402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pic>
        <p:nvPicPr>
          <p:cNvPr id="5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FC01AFCF-0ABD-9AE1-9669-DFFE10E3B3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7850" y="1417638"/>
            <a:ext cx="10972800" cy="4422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/>
            </a:lvl1pPr>
            <a:lvl2pPr>
              <a:defRPr sz="1400"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0F0407-AF87-2186-E612-0FBC80C248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347CF03-2D14-4848-9EE5-2003F6A2CF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2005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EABD4A8-C16D-7B68-F4BA-FFAA617F5F15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cxnSp>
        <p:nvCxnSpPr>
          <p:cNvPr id="5" name="Straight Connector 13">
            <a:extLst>
              <a:ext uri="{FF2B5EF4-FFF2-40B4-BE49-F238E27FC236}">
                <a16:creationId xmlns:a16="http://schemas.microsoft.com/office/drawing/2014/main" id="{3D1C851B-59B8-F952-3481-E52BC9B91BC1}"/>
              </a:ext>
            </a:extLst>
          </p:cNvPr>
          <p:cNvCxnSpPr>
            <a:cxnSpLocks/>
          </p:cNvCxnSpPr>
          <p:nvPr userDrawn="1"/>
        </p:nvCxnSpPr>
        <p:spPr>
          <a:xfrm>
            <a:off x="5884863" y="1943100"/>
            <a:ext cx="0" cy="42291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4B16A257-91A0-2BCA-3DD5-5E065A76C8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77849" y="1942676"/>
            <a:ext cx="5042621" cy="4229524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151335" y="1942676"/>
            <a:ext cx="5042621" cy="4229524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8C0EA12-2593-7BFB-7FFC-6950AFD5A3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78F40BE-B67B-4597-8585-676FC5A0FA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6293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6402703-A822-7462-C132-F531C6C0376B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cxnSp>
        <p:nvCxnSpPr>
          <p:cNvPr id="4" name="Straight Connector 13">
            <a:extLst>
              <a:ext uri="{FF2B5EF4-FFF2-40B4-BE49-F238E27FC236}">
                <a16:creationId xmlns:a16="http://schemas.microsoft.com/office/drawing/2014/main" id="{72F8D8FA-5B0F-8223-E8BC-32B9668A0985}"/>
              </a:ext>
            </a:extLst>
          </p:cNvPr>
          <p:cNvCxnSpPr>
            <a:cxnSpLocks/>
          </p:cNvCxnSpPr>
          <p:nvPr userDrawn="1"/>
        </p:nvCxnSpPr>
        <p:spPr>
          <a:xfrm>
            <a:off x="4191000" y="1943100"/>
            <a:ext cx="0" cy="42291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5">
            <a:extLst>
              <a:ext uri="{FF2B5EF4-FFF2-40B4-BE49-F238E27FC236}">
                <a16:creationId xmlns:a16="http://schemas.microsoft.com/office/drawing/2014/main" id="{97D8CB6E-2C5F-6707-8860-B738B0D47994}"/>
              </a:ext>
            </a:extLst>
          </p:cNvPr>
          <p:cNvCxnSpPr>
            <a:cxnSpLocks/>
          </p:cNvCxnSpPr>
          <p:nvPr userDrawn="1"/>
        </p:nvCxnSpPr>
        <p:spPr>
          <a:xfrm>
            <a:off x="7934325" y="1943100"/>
            <a:ext cx="0" cy="42291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E3BCB6EA-3E77-D7BF-A747-C3B646E4D6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77850" y="1942676"/>
            <a:ext cx="3512910" cy="4229524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 sz="1800"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328757" y="1942676"/>
            <a:ext cx="3512910" cy="4229524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042340" y="1942676"/>
            <a:ext cx="3512910" cy="4229524"/>
          </a:xfrm>
          <a:prstGeom prst="rect">
            <a:avLst/>
          </a:prstGeo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54565B"/>
              </a:buClr>
              <a:buSzPct val="65000"/>
              <a:buFont typeface="Monaco" pitchFamily="2" charset="77"/>
              <a:buChar char="⎻"/>
              <a:tabLst/>
              <a:defRPr/>
            </a:lvl1pPr>
            <a:lvl2pPr marL="675958" marR="0" indent="-2857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2pPr>
            <a:lvl3pPr marL="862012" marR="0" indent="-17145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Monaco" pitchFamily="2" charset="77"/>
              <a:buChar char="⎻"/>
              <a:tabLst/>
              <a:defRPr/>
            </a:lvl3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E4488EE-578F-3630-213D-499D50D477A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l">
              <a:defRPr sz="8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E4EBFB40-D970-4749-8365-FD7F2302C5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5484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 +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D508F168-D011-C97F-0558-C31C082E5ABD}"/>
              </a:ext>
            </a:extLst>
          </p:cNvPr>
          <p:cNvSpPr txBox="1">
            <a:spLocks/>
          </p:cNvSpPr>
          <p:nvPr userDrawn="1"/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>
                    <a:lumMod val="40000"/>
                    <a:lumOff val="60000"/>
                  </a:schemeClr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DAF9FE1-AC11-4FA4-84F6-9545750D62D8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3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3B5D37A-9185-654B-ACAF-03AB98217D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5" y="6049963"/>
            <a:ext cx="22717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025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66.xml"/><Relationship Id="rId47" Type="http://schemas.openxmlformats.org/officeDocument/2006/relationships/slideLayout" Target="../slideLayouts/slideLayout71.xml"/><Relationship Id="rId50" Type="http://schemas.openxmlformats.org/officeDocument/2006/relationships/tags" Target="../tags/tag4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46" Type="http://schemas.openxmlformats.org/officeDocument/2006/relationships/slideLayout" Target="../slideLayouts/slideLayout70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6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slideLayout" Target="../slideLayouts/slideLayout64.xml"/><Relationship Id="rId45" Type="http://schemas.openxmlformats.org/officeDocument/2006/relationships/slideLayout" Target="../slideLayouts/slideLayout69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55.xml"/><Relationship Id="rId44" Type="http://schemas.openxmlformats.org/officeDocument/2006/relationships/slideLayout" Target="../slideLayouts/slideLayout68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slideLayout" Target="../slideLayouts/slideLayout67.xml"/><Relationship Id="rId48" Type="http://schemas.openxmlformats.org/officeDocument/2006/relationships/slideLayout" Target="../slideLayouts/slideLayout72.xml"/><Relationship Id="rId8" Type="http://schemas.openxmlformats.org/officeDocument/2006/relationships/slideLayout" Target="../slideLayouts/slideLayout32.xml"/><Relationship Id="rId51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9" Type="http://schemas.openxmlformats.org/officeDocument/2006/relationships/oleObject" Target="../embeddings/oleObject3.bin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theme" Target="../theme/theme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theme" Target="../theme/theme5.xml"/><Relationship Id="rId3" Type="http://schemas.openxmlformats.org/officeDocument/2006/relationships/slideLayout" Target="../slideLayouts/slideLayout132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42" Type="http://schemas.openxmlformats.org/officeDocument/2006/relationships/oleObject" Target="../embeddings/oleObject5.bin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149.xml"/><Relationship Id="rId29" Type="http://schemas.openxmlformats.org/officeDocument/2006/relationships/slideLayout" Target="../slideLayouts/slideLayout158.xml"/><Relationship Id="rId41" Type="http://schemas.openxmlformats.org/officeDocument/2006/relationships/tags" Target="../tags/tag8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tags" Target="../tags/tag7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8672ACEB-4243-1DF3-F3E2-83162C548D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4" hidden="1">
                        <a:extLst>
                          <a:ext uri="{FF2B5EF4-FFF2-40B4-BE49-F238E27FC236}">
                            <a16:creationId xmlns:a16="http://schemas.microsoft.com/office/drawing/2014/main" id="{8672ACEB-4243-1DF3-F3E2-83162C548DC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7749B7-137B-9920-55D3-C28F24DAFCE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600" b="1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  <p:sp>
        <p:nvSpPr>
          <p:cNvPr id="1028" name="Title Placeholder 1">
            <a:extLst>
              <a:ext uri="{FF2B5EF4-FFF2-40B4-BE49-F238E27FC236}">
                <a16:creationId xmlns:a16="http://schemas.microsoft.com/office/drawing/2014/main" id="{EA1D101E-3DB1-CDBF-149C-862F9E7E90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365125"/>
            <a:ext cx="10925175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63402F-160D-D0B0-2232-3ACE22E14E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3100"/>
            <a:ext cx="10925175" cy="42338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1FE565-44FC-9F04-BAC7-F9157B3D23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0" i="0" smtClean="0">
                <a:solidFill>
                  <a:schemeClr val="bg2"/>
                </a:solidFill>
                <a:latin typeface="Trebuchet MS" panose="020B0703020202090204" pitchFamily="34" charset="0"/>
                <a:ea typeface="+mn-ea"/>
              </a:defRPr>
            </a:lvl1pPr>
          </a:lstStyle>
          <a:p>
            <a:pPr>
              <a:defRPr/>
            </a:pPr>
            <a:fld id="{AF6A77D5-324F-4352-B98E-F4C506C060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6" r:id="rId1"/>
    <p:sldLayoutId id="2147484597" r:id="rId2"/>
    <p:sldLayoutId id="2147484598" r:id="rId3"/>
    <p:sldLayoutId id="2147484599" r:id="rId4"/>
    <p:sldLayoutId id="2147484600" r:id="rId5"/>
    <p:sldLayoutId id="2147484601" r:id="rId6"/>
    <p:sldLayoutId id="2147484602" r:id="rId7"/>
    <p:sldLayoutId id="2147484603" r:id="rId8"/>
    <p:sldLayoutId id="2147484604" r:id="rId9"/>
    <p:sldLayoutId id="2147484605" r:id="rId10"/>
    <p:sldLayoutId id="2147484606" r:id="rId11"/>
    <p:sldLayoutId id="2147484607" r:id="rId12"/>
    <p:sldLayoutId id="2147484608" r:id="rId13"/>
    <p:sldLayoutId id="2147484609" r:id="rId14"/>
    <p:sldLayoutId id="2147484610" r:id="rId15"/>
    <p:sldLayoutId id="2147484611" r:id="rId16"/>
    <p:sldLayoutId id="2147484612" r:id="rId17"/>
    <p:sldLayoutId id="2147484613" r:id="rId18"/>
    <p:sldLayoutId id="2147484614" r:id="rId19"/>
    <p:sldLayoutId id="2147484615" r:id="rId20"/>
    <p:sldLayoutId id="2147484616" r:id="rId21"/>
    <p:sldLayoutId id="2147484617" r:id="rId22"/>
    <p:sldLayoutId id="2147484618" r:id="rId23"/>
    <p:sldLayoutId id="2147484619" r:id="rId24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80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9pPr>
    </p:titleStyle>
    <p:bodyStyle>
      <a:lvl1pPr algn="l" rtl="0" fontAlgn="base">
        <a:lnSpc>
          <a:spcPct val="114000"/>
        </a:lnSpc>
        <a:spcBef>
          <a:spcPct val="0"/>
        </a:spcBef>
        <a:spcAft>
          <a:spcPts val="600"/>
        </a:spcAft>
        <a:buFont typeface="Arial" panose="020B0604020202020204" pitchFamily="34" charset="0"/>
        <a:defRPr sz="20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i="1" kern="1600" spc="-5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6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4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sz="12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think-cell data - do not delete" hidden="1">
            <a:extLst>
              <a:ext uri="{FF2B5EF4-FFF2-40B4-BE49-F238E27FC236}">
                <a16:creationId xmlns:a16="http://schemas.microsoft.com/office/drawing/2014/main" id="{4311C330-A8CD-EC54-5104-0751DBEAAB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60" imgH="360" progId="TCLayout.ActiveDocument.1">
                  <p:embed/>
                </p:oleObj>
              </mc:Choice>
              <mc:Fallback>
                <p:oleObj name="think-cell Slide" r:id="rId51" imgW="360" imgH="360" progId="TCLayout.ActiveDocument.1">
                  <p:embed/>
                  <p:pic>
                    <p:nvPicPr>
                      <p:cNvPr id="307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11C330-A8CD-EC54-5104-0751DBEAAB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le Placeholder 1">
            <a:extLst>
              <a:ext uri="{FF2B5EF4-FFF2-40B4-BE49-F238E27FC236}">
                <a16:creationId xmlns:a16="http://schemas.microsoft.com/office/drawing/2014/main" id="{39769169-FADC-BE0D-0711-56E7D674F57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365125"/>
            <a:ext cx="10925175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042402-E040-1A29-4F46-75AE2A544E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3100"/>
            <a:ext cx="10925175" cy="42338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E68523-6BED-3FC3-703C-1E3ED07531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0" i="0" smtClean="0">
                <a:solidFill>
                  <a:schemeClr val="bg2"/>
                </a:solidFill>
                <a:latin typeface="Trebuchet MS" panose="020B0703020202090204" pitchFamily="34" charset="0"/>
                <a:ea typeface="+mn-ea"/>
              </a:defRPr>
            </a:lvl1pPr>
          </a:lstStyle>
          <a:p>
            <a:pPr>
              <a:defRPr/>
            </a:pPr>
            <a:fld id="{A8F4FF80-C8FB-4B18-AB7A-5FAC695D03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4EE21AF-7F77-6AB9-B6BE-CCDE671C4771}"/>
              </a:ext>
            </a:extLst>
          </p:cNvPr>
          <p:cNvSpPr txBox="1">
            <a:spLocks/>
          </p:cNvSpPr>
          <p:nvPr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FBA32BB-E324-6F0F-5686-A05F7280E8D1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Proxima Nova Regular" panose="02000506030000020004" pitchFamily="2" charset="0"/>
              </a:rPr>
              <a:t>Confidential – 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643" r:id="rId2"/>
    <p:sldLayoutId id="2147484644" r:id="rId3"/>
    <p:sldLayoutId id="2147484645" r:id="rId4"/>
    <p:sldLayoutId id="2147484646" r:id="rId5"/>
    <p:sldLayoutId id="2147484647" r:id="rId6"/>
    <p:sldLayoutId id="2147484648" r:id="rId7"/>
    <p:sldLayoutId id="2147484649" r:id="rId8"/>
    <p:sldLayoutId id="2147484650" r:id="rId9"/>
    <p:sldLayoutId id="2147484651" r:id="rId10"/>
    <p:sldLayoutId id="2147484652" r:id="rId11"/>
    <p:sldLayoutId id="2147484653" r:id="rId12"/>
    <p:sldLayoutId id="2147484654" r:id="rId13"/>
    <p:sldLayoutId id="2147484655" r:id="rId14"/>
    <p:sldLayoutId id="2147484656" r:id="rId15"/>
    <p:sldLayoutId id="2147484657" r:id="rId16"/>
    <p:sldLayoutId id="2147484658" r:id="rId17"/>
    <p:sldLayoutId id="2147484659" r:id="rId18"/>
    <p:sldLayoutId id="2147484660" r:id="rId19"/>
    <p:sldLayoutId id="2147484661" r:id="rId20"/>
    <p:sldLayoutId id="2147484662" r:id="rId21"/>
    <p:sldLayoutId id="2147484663" r:id="rId22"/>
    <p:sldLayoutId id="2147484664" r:id="rId23"/>
    <p:sldLayoutId id="2147484665" r:id="rId24"/>
    <p:sldLayoutId id="2147484666" r:id="rId25"/>
    <p:sldLayoutId id="2147484667" r:id="rId26"/>
    <p:sldLayoutId id="2147484668" r:id="rId27"/>
    <p:sldLayoutId id="2147484670" r:id="rId28"/>
    <p:sldLayoutId id="2147484671" r:id="rId29"/>
    <p:sldLayoutId id="2147484672" r:id="rId30"/>
    <p:sldLayoutId id="2147484673" r:id="rId31"/>
    <p:sldLayoutId id="2147484674" r:id="rId32"/>
    <p:sldLayoutId id="2147484675" r:id="rId33"/>
    <p:sldLayoutId id="2147484676" r:id="rId34"/>
    <p:sldLayoutId id="2147484677" r:id="rId35"/>
    <p:sldLayoutId id="2147484678" r:id="rId36"/>
    <p:sldLayoutId id="2147484679" r:id="rId37"/>
    <p:sldLayoutId id="2147484680" r:id="rId38"/>
    <p:sldLayoutId id="2147484681" r:id="rId39"/>
    <p:sldLayoutId id="2147484682" r:id="rId40"/>
    <p:sldLayoutId id="2147484683" r:id="rId41"/>
    <p:sldLayoutId id="2147484684" r:id="rId42"/>
    <p:sldLayoutId id="2147484685" r:id="rId43"/>
    <p:sldLayoutId id="2147484686" r:id="rId44"/>
    <p:sldLayoutId id="2147484687" r:id="rId45"/>
    <p:sldLayoutId id="2147484688" r:id="rId46"/>
    <p:sldLayoutId id="2147484689" r:id="rId47"/>
    <p:sldLayoutId id="2147484690" r:id="rId48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80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9pPr>
    </p:titleStyle>
    <p:bodyStyle>
      <a:lvl1pPr algn="l" rtl="0" fontAlgn="base">
        <a:lnSpc>
          <a:spcPct val="114000"/>
        </a:lnSpc>
        <a:spcBef>
          <a:spcPct val="0"/>
        </a:spcBef>
        <a:spcAft>
          <a:spcPts val="600"/>
        </a:spcAft>
        <a:buFont typeface="Arial" panose="020B0604020202020204" pitchFamily="34" charset="0"/>
        <a:defRPr sz="20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i="1" kern="1600" spc="-5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6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4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sz="12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think-cell data - do not delete" hidden="1">
            <a:extLst>
              <a:ext uri="{FF2B5EF4-FFF2-40B4-BE49-F238E27FC236}">
                <a16:creationId xmlns:a16="http://schemas.microsoft.com/office/drawing/2014/main" id="{217ECC3C-90E9-6A34-DD9A-D2B9E9BCD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409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7ECC3C-90E9-6A34-DD9A-D2B9E9BCDB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itle Placeholder 1">
            <a:extLst>
              <a:ext uri="{FF2B5EF4-FFF2-40B4-BE49-F238E27FC236}">
                <a16:creationId xmlns:a16="http://schemas.microsoft.com/office/drawing/2014/main" id="{1C37F0EA-42B0-6350-333A-7222D7DE43D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365125"/>
            <a:ext cx="10925175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Master Slide Template – 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E5F202-27D7-9855-C640-4C2118A98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0" i="0" smtClean="0">
                <a:solidFill>
                  <a:schemeClr val="bg2"/>
                </a:solidFill>
                <a:latin typeface="Trebuchet MS" panose="020B0703020202090204" pitchFamily="34" charset="0"/>
                <a:ea typeface="+mn-ea"/>
              </a:defRPr>
            </a:lvl1pPr>
          </a:lstStyle>
          <a:p>
            <a:pPr>
              <a:defRPr/>
            </a:pPr>
            <a:fld id="{B95D51CC-D44B-4527-AEA9-F8D737383A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FC8FA64-623F-7E8D-BC8D-B33485CA46A0}"/>
              </a:ext>
            </a:extLst>
          </p:cNvPr>
          <p:cNvSpPr txBox="1">
            <a:spLocks/>
          </p:cNvSpPr>
          <p:nvPr userDrawn="1"/>
        </p:nvSpPr>
        <p:spPr>
          <a:xfrm>
            <a:off x="4700588" y="6400800"/>
            <a:ext cx="2743200" cy="2921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/>
              <a:t>Confidential – Internal Use Onl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06990F-BB57-0A6D-610E-5196A7784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55738"/>
            <a:ext cx="10925175" cy="4721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91" r:id="rId1"/>
    <p:sldLayoutId id="2147484692" r:id="rId2"/>
    <p:sldLayoutId id="2147484693" r:id="rId3"/>
    <p:sldLayoutId id="2147484694" r:id="rId4"/>
    <p:sldLayoutId id="2147484695" r:id="rId5"/>
    <p:sldLayoutId id="2147484696" r:id="rId6"/>
    <p:sldLayoutId id="2147484697" r:id="rId7"/>
    <p:sldLayoutId id="2147484698" r:id="rId8"/>
    <p:sldLayoutId id="2147484699" r:id="rId9"/>
    <p:sldLayoutId id="2147484700" r:id="rId10"/>
    <p:sldLayoutId id="2147484701" r:id="rId11"/>
    <p:sldLayoutId id="2147484702" r:id="rId12"/>
    <p:sldLayoutId id="2147484703" r:id="rId13"/>
    <p:sldLayoutId id="2147484704" r:id="rId14"/>
    <p:sldLayoutId id="2147484705" r:id="rId15"/>
    <p:sldLayoutId id="2147484706" r:id="rId16"/>
    <p:sldLayoutId id="2147484707" r:id="rId17"/>
    <p:sldLayoutId id="2147484708" r:id="rId18"/>
    <p:sldLayoutId id="2147484709" r:id="rId19"/>
    <p:sldLayoutId id="2147484710" r:id="rId20"/>
    <p:sldLayoutId id="2147484711" r:id="rId21"/>
    <p:sldLayoutId id="2147484712" r:id="rId22"/>
    <p:sldLayoutId id="2147484713" r:id="rId23"/>
    <p:sldLayoutId id="2147484714" r:id="rId24"/>
    <p:sldLayoutId id="2147484715" r:id="rId25"/>
    <p:sldLayoutId id="2147484716" r:id="rId26"/>
    <p:sldLayoutId id="2147484717" r:id="rId27"/>
    <p:sldLayoutId id="2147484718" r:id="rId28"/>
    <p:sldLayoutId id="2147484719" r:id="rId29"/>
    <p:sldLayoutId id="2147484720" r:id="rId30"/>
    <p:sldLayoutId id="2147484721" r:id="rId31"/>
    <p:sldLayoutId id="2147484722" r:id="rId32"/>
    <p:sldLayoutId id="2147484723" r:id="rId33"/>
    <p:sldLayoutId id="2147484724" r:id="rId34"/>
    <p:sldLayoutId id="2147484725" r:id="rId35"/>
    <p:sldLayoutId id="2147484726" r:id="rId36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80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方正姚体" panose="02010601030101010101" pitchFamily="2" charset="-122"/>
          <a:cs typeface="Trebuchet MS" panose="020B0603020202020204" pitchFamily="34" charset="0"/>
        </a:defRPr>
      </a:lvl9pPr>
    </p:titleStyle>
    <p:bodyStyle>
      <a:lvl1pPr marL="342900" indent="-342900" algn="l" rtl="0" fontAlgn="base">
        <a:lnSpc>
          <a:spcPct val="114000"/>
        </a:lnSpc>
        <a:spcBef>
          <a:spcPct val="0"/>
        </a:spcBef>
        <a:spcAft>
          <a:spcPts val="600"/>
        </a:spcAft>
        <a:buClr>
          <a:schemeClr val="tx1"/>
        </a:buClr>
        <a:buSzPct val="65000"/>
        <a:buFont typeface="Monaco"/>
        <a:buChar char="⎻"/>
        <a:defRPr sz="20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674688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Monaco"/>
        <a:buChar char="⎻"/>
        <a:defRPr lang="en-US" sz="1200" kern="1600" spc="-50" dirty="0">
          <a:solidFill>
            <a:schemeClr val="tx1"/>
          </a:solidFill>
          <a:latin typeface="+mj-lt"/>
          <a:ea typeface="+mn-ea"/>
          <a:cs typeface="+mn-cs"/>
        </a:defRPr>
      </a:lvl2pPr>
      <a:lvl3pPr marL="860425" indent="-171450" algn="l" rtl="0" fontAlgn="base">
        <a:lnSpc>
          <a:spcPct val="114000"/>
        </a:lnSpc>
        <a:spcBef>
          <a:spcPct val="0"/>
        </a:spcBef>
        <a:spcAft>
          <a:spcPts val="600"/>
        </a:spcAft>
        <a:buFont typeface="Monaco"/>
        <a:buChar char="⎻"/>
        <a:defRPr lang="en-US" sz="1000" i="1" kern="1600" spc="-5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135063" indent="-171450" algn="l" rtl="0" fontAlgn="base">
        <a:lnSpc>
          <a:spcPct val="114000"/>
        </a:lnSpc>
        <a:spcBef>
          <a:spcPct val="0"/>
        </a:spcBef>
        <a:spcAft>
          <a:spcPts val="600"/>
        </a:spcAft>
        <a:buFont typeface="Monaco"/>
        <a:buChar char="⎻"/>
        <a:defRPr lang="en-US" sz="1000" i="1" kern="1600" spc="-5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1352550" indent="-171450" algn="l" rtl="0" fontAlgn="base">
        <a:lnSpc>
          <a:spcPct val="114000"/>
        </a:lnSpc>
        <a:spcBef>
          <a:spcPct val="0"/>
        </a:spcBef>
        <a:spcAft>
          <a:spcPts val="600"/>
        </a:spcAft>
        <a:buFont typeface="Monaco"/>
        <a:buChar char="⎻"/>
        <a:defRPr sz="1000" i="1" kern="1600" spc="-5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4" hidden="1">
            <a:extLst>
              <a:ext uri="{FF2B5EF4-FFF2-40B4-BE49-F238E27FC236}">
                <a16:creationId xmlns:a16="http://schemas.microsoft.com/office/drawing/2014/main" id="{48EC0353-9249-C8BC-104B-D8972E7E1D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6146" name="Object 4" hidden="1">
                        <a:extLst>
                          <a:ext uri="{FF2B5EF4-FFF2-40B4-BE49-F238E27FC236}">
                            <a16:creationId xmlns:a16="http://schemas.microsoft.com/office/drawing/2014/main" id="{48EC0353-9249-C8BC-104B-D8972E7E1D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Placeholder 1">
            <a:extLst>
              <a:ext uri="{FF2B5EF4-FFF2-40B4-BE49-F238E27FC236}">
                <a16:creationId xmlns:a16="http://schemas.microsoft.com/office/drawing/2014/main" id="{9B243CFC-FBFA-39ED-81CA-964C0177393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365125"/>
            <a:ext cx="10925175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1C890B-4D39-AE70-9DDB-F0D0CF6DD3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3100"/>
            <a:ext cx="10925175" cy="42338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9C85F-68B8-25C5-04AF-BFAEA597D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138" y="6400800"/>
            <a:ext cx="274320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0" i="0" smtClean="0">
                <a:solidFill>
                  <a:schemeClr val="bg2"/>
                </a:solidFill>
                <a:latin typeface="Trebuchet MS" panose="020B0703020202090204" pitchFamily="34" charset="0"/>
                <a:ea typeface="+mn-ea"/>
              </a:defRPr>
            </a:lvl1pPr>
          </a:lstStyle>
          <a:p>
            <a:pPr>
              <a:defRPr/>
            </a:pPr>
            <a:fld id="{E9438078-A7B4-4AD8-9AF1-C23E54D82F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62" r:id="rId1"/>
    <p:sldLayoutId id="2147484763" r:id="rId2"/>
    <p:sldLayoutId id="2147484764" r:id="rId3"/>
    <p:sldLayoutId id="2147484765" r:id="rId4"/>
    <p:sldLayoutId id="2147484766" r:id="rId5"/>
    <p:sldLayoutId id="2147484767" r:id="rId6"/>
    <p:sldLayoutId id="2147484768" r:id="rId7"/>
    <p:sldLayoutId id="2147484769" r:id="rId8"/>
    <p:sldLayoutId id="2147484770" r:id="rId9"/>
    <p:sldLayoutId id="2147484771" r:id="rId10"/>
    <p:sldLayoutId id="2147484772" r:id="rId11"/>
    <p:sldLayoutId id="2147484773" r:id="rId12"/>
    <p:sldLayoutId id="2147484774" r:id="rId13"/>
    <p:sldLayoutId id="2147484775" r:id="rId14"/>
    <p:sldLayoutId id="2147484776" r:id="rId15"/>
    <p:sldLayoutId id="2147484777" r:id="rId16"/>
    <p:sldLayoutId id="2147484778" r:id="rId17"/>
    <p:sldLayoutId id="2147484779" r:id="rId18"/>
    <p:sldLayoutId id="2147484780" r:id="rId19"/>
    <p:sldLayoutId id="2147484781" r:id="rId20"/>
    <p:sldLayoutId id="2147484782" r:id="rId21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80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1"/>
          </a:solidFill>
          <a:latin typeface="Trebuchet MS" panose="020B0603020202020204" pitchFamily="34" charset="0"/>
          <a:ea typeface="微软雅黑" panose="020B0503020204020204" pitchFamily="34" charset="-122"/>
          <a:cs typeface="Trebuchet MS" panose="020B0603020202020204" pitchFamily="34" charset="0"/>
        </a:defRPr>
      </a:lvl9pPr>
    </p:titleStyle>
    <p:bodyStyle>
      <a:lvl1pPr algn="l" rtl="0" fontAlgn="base">
        <a:lnSpc>
          <a:spcPct val="114000"/>
        </a:lnSpc>
        <a:spcBef>
          <a:spcPct val="0"/>
        </a:spcBef>
        <a:spcAft>
          <a:spcPts val="600"/>
        </a:spcAft>
        <a:buFont typeface="Arial" panose="020B0604020202020204" pitchFamily="34" charset="0"/>
        <a:defRPr sz="20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i="1" kern="1600" spc="-5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6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lang="en-US" sz="1400" kern="1600" spc="-5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rtl="0" fontAlgn="base">
        <a:lnSpc>
          <a:spcPct val="114000"/>
        </a:lnSpc>
        <a:spcBef>
          <a:spcPct val="0"/>
        </a:spcBef>
        <a:spcAft>
          <a:spcPts val="600"/>
        </a:spcAft>
        <a:buFont typeface="Apple Symbols"/>
        <a:buChar char="⎼"/>
        <a:defRPr sz="1200" kern="1600" spc="-5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436996-FCED-44E6-A875-BAFF31F5B2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92" imgH="591" progId="TCLayout.ActiveDocument.1">
                  <p:embed/>
                </p:oleObj>
              </mc:Choice>
              <mc:Fallback>
                <p:oleObj name="think-cell Slide" r:id="rId4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436996-FCED-44E6-A875-BAFF31F5B2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5B0365B-4A55-498C-9DC2-C62782D2F1FC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66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5" r:id="rId1"/>
    <p:sldLayoutId id="2147484806" r:id="rId2"/>
    <p:sldLayoutId id="2147484807" r:id="rId3"/>
    <p:sldLayoutId id="2147484808" r:id="rId4"/>
    <p:sldLayoutId id="2147484809" r:id="rId5"/>
    <p:sldLayoutId id="2147484810" r:id="rId6"/>
    <p:sldLayoutId id="2147484811" r:id="rId7"/>
    <p:sldLayoutId id="2147484812" r:id="rId8"/>
    <p:sldLayoutId id="2147484813" r:id="rId9"/>
    <p:sldLayoutId id="2147484814" r:id="rId10"/>
    <p:sldLayoutId id="2147484815" r:id="rId11"/>
    <p:sldLayoutId id="2147484816" r:id="rId12"/>
    <p:sldLayoutId id="2147484817" r:id="rId13"/>
    <p:sldLayoutId id="2147484818" r:id="rId14"/>
    <p:sldLayoutId id="2147484819" r:id="rId15"/>
    <p:sldLayoutId id="2147484820" r:id="rId16"/>
    <p:sldLayoutId id="2147484821" r:id="rId17"/>
    <p:sldLayoutId id="2147484822" r:id="rId18"/>
    <p:sldLayoutId id="2147484823" r:id="rId19"/>
    <p:sldLayoutId id="2147484824" r:id="rId20"/>
    <p:sldLayoutId id="2147484825" r:id="rId21"/>
    <p:sldLayoutId id="2147484827" r:id="rId22"/>
    <p:sldLayoutId id="2147484828" r:id="rId23"/>
    <p:sldLayoutId id="2147484829" r:id="rId24"/>
    <p:sldLayoutId id="2147484830" r:id="rId25"/>
    <p:sldLayoutId id="2147484831" r:id="rId26"/>
    <p:sldLayoutId id="2147484832" r:id="rId27"/>
    <p:sldLayoutId id="2147484833" r:id="rId28"/>
    <p:sldLayoutId id="2147484834" r:id="rId29"/>
    <p:sldLayoutId id="2147484835" r:id="rId30"/>
    <p:sldLayoutId id="2147484836" r:id="rId31"/>
    <p:sldLayoutId id="2147484837" r:id="rId32"/>
    <p:sldLayoutId id="2147484838" r:id="rId33"/>
    <p:sldLayoutId id="2147484839" r:id="rId34"/>
    <p:sldLayoutId id="2147484840" r:id="rId35"/>
    <p:sldLayoutId id="2147484841" r:id="rId36"/>
    <p:sldLayoutId id="2147484842" r:id="rId37"/>
    <p:sldLayoutId id="2147484843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1BE952-8B43-EA5C-24FD-6F11B286B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tatistical Consideration for China Development</a:t>
            </a:r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C1460D3-5432-D19E-D14A-298878B9F5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C1305-31BA-41D8-ACE1-6C624699B5B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sp>
        <p:nvSpPr>
          <p:cNvPr id="4" name="内容占位符 1">
            <a:extLst>
              <a:ext uri="{FF2B5EF4-FFF2-40B4-BE49-F238E27FC236}">
                <a16:creationId xmlns:a16="http://schemas.microsoft.com/office/drawing/2014/main" id="{317BB85A-B9F6-1324-4814-9FA3FB976230}"/>
              </a:ext>
            </a:extLst>
          </p:cNvPr>
          <p:cNvSpPr txBox="1">
            <a:spLocks/>
          </p:cNvSpPr>
          <p:nvPr/>
        </p:nvSpPr>
        <p:spPr>
          <a:xfrm>
            <a:off x="493415" y="1255041"/>
            <a:ext cx="11141002" cy="468409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65000"/>
              <a:buFont typeface="Monaco"/>
              <a:buChar char="⎻"/>
              <a:defRPr sz="2000" kern="1600" spc="-50">
                <a:solidFill>
                  <a:schemeClr val="tx1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674688" indent="-285750" algn="l" rtl="0" fontAlgn="base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Monaco"/>
              <a:buChar char="⎻"/>
              <a:defRPr lang="en-US" sz="1200" kern="1600" spc="-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860425" indent="-171450" algn="l" rtl="0" fontAlgn="base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Monaco"/>
              <a:buChar char="⎻"/>
              <a:defRPr lang="en-US" sz="1000" i="1" kern="1600" spc="-5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135063" indent="-171450" algn="l" rtl="0" fontAlgn="base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Monaco"/>
              <a:buChar char="⎻"/>
              <a:defRPr lang="en-US" sz="1000" i="1" kern="1600" spc="-5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4pPr>
            <a:lvl5pPr marL="1352550" indent="-171450" algn="l" rtl="0" fontAlgn="base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Monaco"/>
              <a:buChar char="⎻"/>
              <a:defRPr sz="1000" i="1" kern="1600" spc="-5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54565B"/>
              </a:buClr>
              <a:buSzPct val="57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>
                <a:solidFill>
                  <a:srgbClr val="54565B"/>
                </a:solidFill>
                <a:ea typeface="华文新魏" panose="02010800040101010101" pitchFamily="2" charset="-122"/>
              </a:rPr>
              <a:t>Depending on</a:t>
            </a:r>
            <a:r>
              <a:rPr kumimoji="0" lang="en-US" altLang="zh-CN" b="0" i="0" u="none" strike="noStrike" kern="1600" cap="none" spc="-5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703020202090204" pitchFamily="34" charset="0"/>
                <a:ea typeface="华文新魏" panose="02010800040101010101" pitchFamily="2" charset="-122"/>
                <a:cs typeface="+mn-cs"/>
              </a:rPr>
              <a:t> CDE consultation/agreement, the decision will be made accordingly. Below lists several scenario examples for possible study design -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4565B"/>
              </a:buClr>
              <a:buSzPct val="65000"/>
              <a:buNone/>
              <a:tabLst/>
              <a:defRPr/>
            </a:pPr>
            <a:r>
              <a:rPr lang="en-US" altLang="zh-CN" sz="1800" i="1" u="sng">
                <a:solidFill>
                  <a:srgbClr val="54565B"/>
                </a:solidFill>
                <a:ea typeface="华文新魏" panose="02010800040101010101" pitchFamily="2" charset="-122"/>
              </a:rPr>
              <a:t>Scenario 1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.  A PK bridging study: 12 Chinese participants proposed based on early development data</a:t>
            </a:r>
          </a:p>
          <a:p>
            <a:pPr marL="0" lvl="0" indent="0" eaLnBrk="1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54565B"/>
              </a:buClr>
              <a:buNone/>
            </a:pPr>
            <a:r>
              <a:rPr lang="en-US" altLang="zh-CN" sz="1800" i="1" u="sng">
                <a:solidFill>
                  <a:srgbClr val="54565B"/>
                </a:solidFill>
                <a:ea typeface="华文新魏" panose="02010800040101010101" pitchFamily="2" charset="-122"/>
              </a:rPr>
              <a:t>Scenario 2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.  A randomized,  double blinded, placebo-controlled,  China alone study with same endpoint evaluation as the study RESPONSE: With the same protocol assumptions ( response rate 20% for placebo vs 55% for </a:t>
            </a:r>
            <a:r>
              <a:rPr lang="en-US" altLang="zh-CN" sz="1800" err="1">
                <a:solidFill>
                  <a:srgbClr val="54565B"/>
                </a:solidFill>
                <a:ea typeface="华文新魏" panose="02010800040101010101" pitchFamily="2" charset="-122"/>
              </a:rPr>
              <a:t>seladelpar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), 40 participants in </a:t>
            </a:r>
            <a:r>
              <a:rPr lang="en-US" altLang="zh-CN" sz="1800" err="1">
                <a:solidFill>
                  <a:srgbClr val="54565B"/>
                </a:solidFill>
                <a:ea typeface="华文新魏" panose="02010800040101010101" pitchFamily="2" charset="-122"/>
              </a:rPr>
              <a:t>seladelpar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 vs 20 in placebo will provide &gt; 75% power at 2-sided </a:t>
            </a:r>
            <a:r>
              <a:rPr lang="en-US" altLang="zh-CN" sz="1800">
                <a:solidFill>
                  <a:srgbClr val="54565B"/>
                </a:solidFill>
              </a:rPr>
              <a:t>0.1 significance 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level (</a:t>
            </a:r>
            <a:r>
              <a:rPr lang="en-US" altLang="zh-CN" sz="1800" b="1">
                <a:solidFill>
                  <a:srgbClr val="54565B"/>
                </a:solidFill>
                <a:ea typeface="华文新魏" panose="02010800040101010101" pitchFamily="2" charset="-122"/>
              </a:rPr>
              <a:t>60 participants in total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)</a:t>
            </a:r>
          </a:p>
          <a:p>
            <a:pPr marL="0" lvl="0" indent="0" eaLnBrk="1" hangingPunct="1">
              <a:lnSpc>
                <a:spcPct val="100000"/>
              </a:lnSpc>
              <a:spcAft>
                <a:spcPts val="1200"/>
              </a:spcAft>
              <a:buClr>
                <a:srgbClr val="54565B"/>
              </a:buClr>
              <a:buNone/>
            </a:pPr>
            <a:r>
              <a:rPr lang="en-US" altLang="zh-CN" sz="1800" i="1" u="sng">
                <a:solidFill>
                  <a:srgbClr val="54565B"/>
                </a:solidFill>
                <a:ea typeface="华文新魏" panose="02010800040101010101" pitchFamily="2" charset="-122"/>
              </a:rPr>
              <a:t>Scenario 3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.  A single arm, China alone study: With one group of </a:t>
            </a:r>
            <a:r>
              <a:rPr lang="en-US" altLang="zh-CN" sz="1800" b="1">
                <a:solidFill>
                  <a:srgbClr val="54565B"/>
                </a:solidFill>
                <a:ea typeface="华文新魏" panose="02010800040101010101" pitchFamily="2" charset="-122"/>
              </a:rPr>
              <a:t>40 participants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, an 80% confidence interval is obtained for an expected response rate of 0.6 and a 0.1 difference margin</a:t>
            </a:r>
          </a:p>
          <a:p>
            <a:pPr marL="0" lvl="0" indent="0" eaLnBrk="1" hangingPunct="1">
              <a:lnSpc>
                <a:spcPct val="100000"/>
              </a:lnSpc>
              <a:spcAft>
                <a:spcPts val="1200"/>
              </a:spcAft>
              <a:buClr>
                <a:srgbClr val="54565B"/>
              </a:buClr>
              <a:buNone/>
            </a:pPr>
            <a:r>
              <a:rPr lang="en-US" altLang="zh-CN" sz="1800" i="1" u="sng">
                <a:solidFill>
                  <a:srgbClr val="54565B"/>
                </a:solidFill>
                <a:ea typeface="华文新魏" panose="02010800040101010101" pitchFamily="2" charset="-122"/>
              </a:rPr>
              <a:t>Scenario 4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. China join global AFFIRM study: To obtain a probability of 80% or higher for similar tendency for the clinical efficacy endpoint, at least a total of </a:t>
            </a:r>
            <a:r>
              <a:rPr lang="en-US" altLang="zh-CN" sz="1800" b="1">
                <a:solidFill>
                  <a:srgbClr val="54565B"/>
                </a:solidFill>
                <a:ea typeface="华文新魏" panose="02010800040101010101" pitchFamily="2" charset="-122"/>
              </a:rPr>
              <a:t>18 Chinese participants 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(12 in </a:t>
            </a:r>
            <a:r>
              <a:rPr lang="en-US" altLang="zh-CN" sz="1800" err="1">
                <a:solidFill>
                  <a:srgbClr val="54565B"/>
                </a:solidFill>
                <a:ea typeface="华文新魏" panose="02010800040101010101" pitchFamily="2" charset="-122"/>
              </a:rPr>
              <a:t>seladelpar</a:t>
            </a:r>
            <a:r>
              <a:rPr lang="en-US" altLang="zh-CN" sz="1800">
                <a:solidFill>
                  <a:srgbClr val="54565B"/>
                </a:solidFill>
                <a:ea typeface="华文新魏" panose="02010800040101010101" pitchFamily="2" charset="-122"/>
              </a:rPr>
              <a:t> vs 6 in placebo) need to be enrolled. </a:t>
            </a:r>
          </a:p>
          <a:p>
            <a:pPr eaLnBrk="1" hangingPunct="1">
              <a:lnSpc>
                <a:spcPct val="100000"/>
              </a:lnSpc>
              <a:spcAft>
                <a:spcPts val="1200"/>
              </a:spcAft>
              <a:buClr>
                <a:srgbClr val="54565B"/>
              </a:buClr>
              <a:buFont typeface="Arial" panose="020B0604020202020204" pitchFamily="34" charset="0"/>
              <a:buChar char="•"/>
            </a:pPr>
            <a:r>
              <a:rPr lang="en-US" altLang="zh-CN">
                <a:solidFill>
                  <a:srgbClr val="54565B"/>
                </a:solidFill>
                <a:ea typeface="华文新魏" panose="02010800040101010101" pitchFamily="2" charset="-122"/>
              </a:rPr>
              <a:t>Early regulatory communication to get agreement on key statistical elements</a:t>
            </a:r>
          </a:p>
        </p:txBody>
      </p:sp>
    </p:spTree>
    <p:extLst>
      <p:ext uri="{BB962C8B-B14F-4D97-AF65-F5344CB8AC3E}">
        <p14:creationId xmlns:p14="http://schemas.microsoft.com/office/powerpoint/2010/main" val="4124485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OtiT_pD_DUwI2Smi2B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hQedoVi422Xat4O9t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IR Template">
  <a:themeElements>
    <a:clrScheme name="Custom 18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reating Possibl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ilead and Kite Oncology Templat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ilead-Oncology-PPT-Template-Guidelines" id="{24025F03-9424-214D-86EE-94104F1635AA}" vid="{3D66D6D5-B551-2243-A751-9220BBABDC60}"/>
    </a:ext>
  </a:extLst>
</a:theme>
</file>

<file path=ppt/theme/theme4.xml><?xml version="1.0" encoding="utf-8"?>
<a:theme xmlns:a="http://schemas.openxmlformats.org/drawingml/2006/main" name="1_IR Template">
  <a:themeElements>
    <a:clrScheme name="Custom 18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Gilead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ilead" id="{9D639D51-F28F-4840-8046-5CBE01A413C4}" vid="{0B3796F7-0830-45B2-ADDD-C7460EEAAA46}"/>
    </a:ext>
  </a:extLst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BBC05714396A4C9EB3C176971828E5" ma:contentTypeVersion="6" ma:contentTypeDescription="Create a new document." ma:contentTypeScope="" ma:versionID="566524378406787e9e468222af060684">
  <xsd:schema xmlns:xsd="http://www.w3.org/2001/XMLSchema" xmlns:xs="http://www.w3.org/2001/XMLSchema" xmlns:p="http://schemas.microsoft.com/office/2006/metadata/properties" xmlns:ns2="d1bf19da-dd46-4420-9b12-b7fcf8ee5329" xmlns:ns3="5c705f98-fd4e-4e44-bde9-d6f131270693" targetNamespace="http://schemas.microsoft.com/office/2006/metadata/properties" ma:root="true" ma:fieldsID="5356a1afacbc27ee45e7cc2168b54ac1" ns2:_="" ns3:_="">
    <xsd:import namespace="d1bf19da-dd46-4420-9b12-b7fcf8ee5329"/>
    <xsd:import namespace="5c705f98-fd4e-4e44-bde9-d6f1312706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bf19da-dd46-4420-9b12-b7fcf8ee53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705f98-fd4e-4e44-bde9-d6f131270693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DB0ECF-C96B-4E28-BED3-9A9A25A646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FEA2A7-D7CA-4B97-A0F7-520B306B9B40}">
  <ds:schemaRefs>
    <ds:schemaRef ds:uri="5c705f98-fd4e-4e44-bde9-d6f131270693"/>
    <ds:schemaRef ds:uri="d1bf19da-dd46-4420-9b12-b7fcf8ee532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B62C2E9-AF04-4941-AAD6-B381011B67F8}">
  <ds:schemaRefs>
    <ds:schemaRef ds:uri="5c705f98-fd4e-4e44-bde9-d6f131270693"/>
    <ds:schemaRef ds:uri="d1bf19da-dd46-4420-9b12-b7fcf8ee532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7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pple Symbols</vt:lpstr>
      <vt:lpstr>等线</vt:lpstr>
      <vt:lpstr>Monaco</vt:lpstr>
      <vt:lpstr>Proxima Nova Regular</vt:lpstr>
      <vt:lpstr>Arial</vt:lpstr>
      <vt:lpstr>Georgia</vt:lpstr>
      <vt:lpstr>Trebuchet MS</vt:lpstr>
      <vt:lpstr>Verdana</vt:lpstr>
      <vt:lpstr>3_IR Template</vt:lpstr>
      <vt:lpstr>Creating Possible</vt:lpstr>
      <vt:lpstr>Gilead and Kite Oncology Template</vt:lpstr>
      <vt:lpstr>1_IR Template</vt:lpstr>
      <vt:lpstr>Gilead</vt:lpstr>
      <vt:lpstr>think-cell Slide</vt:lpstr>
      <vt:lpstr>Statistical Consideration for China Develop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ng Han</dc:creator>
  <cp:lastModifiedBy>Xiaomin Lu</cp:lastModifiedBy>
  <cp:revision>2</cp:revision>
  <dcterms:created xsi:type="dcterms:W3CDTF">2023-07-03T03:32:51Z</dcterms:created>
  <dcterms:modified xsi:type="dcterms:W3CDTF">2024-07-25T16:5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BBC05714396A4C9EB3C176971828E5</vt:lpwstr>
  </property>
  <property fmtid="{D5CDD505-2E9C-101B-9397-08002B2CF9AE}" pid="3" name="MSIP_Label_16de74a9-4f8a-4c74-b507-22417e17d25b_Method">
    <vt:lpwstr>Privileged</vt:lpwstr>
  </property>
  <property fmtid="{D5CDD505-2E9C-101B-9397-08002B2CF9AE}" pid="4" name="MSIP_Label_16de74a9-4f8a-4c74-b507-22417e17d25b_ContentBits">
    <vt:lpwstr>0</vt:lpwstr>
  </property>
  <property fmtid="{D5CDD505-2E9C-101B-9397-08002B2CF9AE}" pid="5" name="MSIP_Label_16de74a9-4f8a-4c74-b507-22417e17d25b_SetDate">
    <vt:lpwstr>2023-07-07T23:29:13Z</vt:lpwstr>
  </property>
  <property fmtid="{D5CDD505-2E9C-101B-9397-08002B2CF9AE}" pid="6" name="MSIP_Label_16de74a9-4f8a-4c74-b507-22417e17d25b_ActionId">
    <vt:lpwstr>bdf48323-0aad-47bf-827a-7bf2a10e11da</vt:lpwstr>
  </property>
  <property fmtid="{D5CDD505-2E9C-101B-9397-08002B2CF9AE}" pid="7" name="MSIP_Label_16de74a9-4f8a-4c74-b507-22417e17d25b_Enabled">
    <vt:lpwstr>true</vt:lpwstr>
  </property>
  <property fmtid="{D5CDD505-2E9C-101B-9397-08002B2CF9AE}" pid="8" name="MSIP_Label_16de74a9-4f8a-4c74-b507-22417e17d25b_SiteId">
    <vt:lpwstr>a5a8bcaa-3292-41e6-b735-5e8b21f4dbfd</vt:lpwstr>
  </property>
  <property fmtid="{D5CDD505-2E9C-101B-9397-08002B2CF9AE}" pid="9" name="MSIP_Label_16de74a9-4f8a-4c74-b507-22417e17d25b_Name">
    <vt:lpwstr>16de74a9-4f8a-4c74-b507-22417e17d25b</vt:lpwstr>
  </property>
</Properties>
</file>